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theme/theme3.xml" ContentType="application/vnd.openxmlformats-officedocument.theme+xml"/>
  <Override PartName="/ppt/slideLayouts/slideLayout13.xml" ContentType="application/vnd.openxmlformats-officedocument.presentationml.slideLayout+xml"/>
  <Override PartName="/ppt/theme/theme4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5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6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7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8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9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10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11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12.xml" ContentType="application/vnd.openxmlformats-officedocument.theme+xml"/>
  <Override PartName="/ppt/slideLayouts/slideLayout30.xml" ContentType="application/vnd.openxmlformats-officedocument.presentationml.slideLayout+xml"/>
  <Override PartName="/ppt/theme/theme13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14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15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16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17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18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19.xml" ContentType="application/vnd.openxmlformats-officedocument.theme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20.xml" ContentType="application/vnd.openxmlformats-officedocument.theme+xml"/>
  <Override PartName="/ppt/tags/tag1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21.xml" ContentType="application/vnd.openxmlformats-officedocument.theme+xml"/>
  <Override PartName="/ppt/theme/theme22.xml" ContentType="application/vnd.openxmlformats-officedocument.theme+xml"/>
  <Override PartName="/ppt/theme/theme23.xml" ContentType="application/vnd.openxmlformats-officedocument.theme+xml"/>
  <Override PartName="/ppt/tags/tag2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heme/themeOverride1.xml" ContentType="application/vnd.openxmlformats-officedocument.themeOverride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ink/ink7.xml" ContentType="application/inkml+xml"/>
  <Override PartName="/ppt/ink/ink8.xml" ContentType="application/inkml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78" r:id="rId1"/>
    <p:sldMasterId id="2147483694" r:id="rId2"/>
    <p:sldMasterId id="2147483697" r:id="rId3"/>
    <p:sldMasterId id="2147483699" r:id="rId4"/>
    <p:sldMasterId id="2147483701" r:id="rId5"/>
    <p:sldMasterId id="2147483704" r:id="rId6"/>
    <p:sldMasterId id="2147483707" r:id="rId7"/>
    <p:sldMasterId id="2147483711" r:id="rId8"/>
    <p:sldMasterId id="2147483714" r:id="rId9"/>
    <p:sldMasterId id="2147483717" r:id="rId10"/>
    <p:sldMasterId id="2147483720" r:id="rId11"/>
    <p:sldMasterId id="2147483723" r:id="rId12"/>
    <p:sldMasterId id="2147483729" r:id="rId13"/>
    <p:sldMasterId id="2147483726" r:id="rId14"/>
    <p:sldMasterId id="2147483731" r:id="rId15"/>
    <p:sldMasterId id="2147483743" r:id="rId16"/>
    <p:sldMasterId id="2147483755" r:id="rId17"/>
    <p:sldMasterId id="2147483767" r:id="rId18"/>
    <p:sldMasterId id="2147483781" r:id="rId19"/>
    <p:sldMasterId id="2147483784" r:id="rId20"/>
    <p:sldMasterId id="2147483803" r:id="rId21"/>
  </p:sldMasterIdLst>
  <p:notesMasterIdLst>
    <p:notesMasterId r:id="rId36"/>
  </p:notesMasterIdLst>
  <p:handoutMasterIdLst>
    <p:handoutMasterId r:id="rId37"/>
  </p:handoutMasterIdLst>
  <p:sldIdLst>
    <p:sldId id="275" r:id="rId22"/>
    <p:sldId id="343" r:id="rId23"/>
    <p:sldId id="386" r:id="rId24"/>
    <p:sldId id="336" r:id="rId25"/>
    <p:sldId id="346" r:id="rId26"/>
    <p:sldId id="342" r:id="rId27"/>
    <p:sldId id="347" r:id="rId28"/>
    <p:sldId id="348" r:id="rId29"/>
    <p:sldId id="351" r:id="rId30"/>
    <p:sldId id="473" r:id="rId31"/>
    <p:sldId id="475" r:id="rId32"/>
    <p:sldId id="420" r:id="rId33"/>
    <p:sldId id="436" r:id="rId34"/>
    <p:sldId id="499" r:id="rId35"/>
  </p:sldIdLst>
  <p:sldSz cx="12192000" cy="6858000"/>
  <p:notesSz cx="6858000" cy="9144000"/>
  <p:embeddedFontLst>
    <p:embeddedFont>
      <p:font typeface="맑은 고딕" panose="020B0503020000020004" pitchFamily="34" charset="-127"/>
      <p:regular r:id="rId38"/>
      <p:bold r:id="rId39"/>
    </p:embeddedFont>
    <p:embeddedFont>
      <p:font typeface="Calibri" panose="020F0502020204030204" pitchFamily="34" charset="0"/>
      <p:regular r:id="rId40"/>
      <p:bold r:id="rId41"/>
      <p:italic r:id="rId42"/>
      <p:boldItalic r:id="rId43"/>
    </p:embeddedFont>
    <p:embeddedFont>
      <p:font typeface="Mont" panose="020B0604020202020204" charset="0"/>
      <p:bold r:id="rId44"/>
    </p:embeddedFont>
    <p:embeddedFont>
      <p:font typeface="Mont Bold" panose="020B0604020202020204" charset="0"/>
      <p:bold r:id="rId45"/>
    </p:embeddedFont>
    <p:embeddedFont>
      <p:font typeface="Mont Heavy DEMO" panose="020B0604020202020204" charset="0"/>
      <p:bold r:id="rId46"/>
    </p:embeddedFont>
    <p:embeddedFont>
      <p:font typeface="Mont Light" panose="020B0604020202020204" charset="0"/>
      <p:regular r:id="rId47"/>
    </p:embeddedFont>
    <p:embeddedFont>
      <p:font typeface="Segoe UI" panose="020B0502040204020203" pitchFamily="34" charset="0"/>
      <p:regular r:id="rId48"/>
      <p:bold r:id="rId49"/>
      <p:italic r:id="rId50"/>
      <p:boldItalic r:id="rId51"/>
    </p:embeddedFont>
    <p:embeddedFont>
      <p:font typeface="Verdana" panose="020B0604030504040204" pitchFamily="34" charset="0"/>
      <p:regular r:id="rId52"/>
      <p:bold r:id="rId53"/>
      <p:italic r:id="rId54"/>
      <p:boldItalic r:id="rId55"/>
    </p:embeddedFont>
  </p:embeddedFont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40">
          <p15:clr>
            <a:srgbClr val="A4A3A4"/>
          </p15:clr>
        </p15:guide>
        <p15:guide id="3" pos="325" userDrawn="1">
          <p15:clr>
            <a:srgbClr val="A4A3A4"/>
          </p15:clr>
        </p15:guide>
        <p15:guide id="4" pos="7333" userDrawn="1">
          <p15:clr>
            <a:srgbClr val="A4A3A4"/>
          </p15:clr>
        </p15:guide>
        <p15:guide id="5" orient="horz" pos="210" userDrawn="1">
          <p15:clr>
            <a:srgbClr val="A4A3A4"/>
          </p15:clr>
        </p15:guide>
        <p15:guide id="6" orient="horz" pos="408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162"/>
    <a:srgbClr val="5CB8B2"/>
    <a:srgbClr val="E6E6E6"/>
    <a:srgbClr val="FFFFFF"/>
    <a:srgbClr val="B7A99A"/>
    <a:srgbClr val="F4DA40"/>
    <a:srgbClr val="D3D2D2"/>
    <a:srgbClr val="FF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4556" autoAdjust="0"/>
    <p:restoredTop sz="90607" autoAdjust="0"/>
  </p:normalViewPr>
  <p:slideViewPr>
    <p:cSldViewPr snapToGrid="0">
      <p:cViewPr varScale="1">
        <p:scale>
          <a:sx n="45" d="100"/>
          <a:sy n="45" d="100"/>
        </p:scale>
        <p:origin x="62" y="672"/>
      </p:cViewPr>
      <p:guideLst>
        <p:guide orient="horz" pos="2183"/>
        <p:guide pos="3840"/>
        <p:guide pos="325"/>
        <p:guide pos="7333"/>
        <p:guide orient="horz" pos="210"/>
        <p:guide orient="horz" pos="408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5" d="100"/>
          <a:sy n="65" d="100"/>
        </p:scale>
        <p:origin x="3154" y="3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5.xml"/><Relationship Id="rId39" Type="http://schemas.openxmlformats.org/officeDocument/2006/relationships/font" Target="fonts/font2.fntdata"/><Relationship Id="rId21" Type="http://schemas.openxmlformats.org/officeDocument/2006/relationships/slideMaster" Target="slideMasters/slideMaster21.xml"/><Relationship Id="rId34" Type="http://schemas.openxmlformats.org/officeDocument/2006/relationships/slide" Target="slides/slide13.xml"/><Relationship Id="rId42" Type="http://schemas.openxmlformats.org/officeDocument/2006/relationships/font" Target="fonts/font5.fntdata"/><Relationship Id="rId47" Type="http://schemas.openxmlformats.org/officeDocument/2006/relationships/font" Target="fonts/font10.fntdata"/><Relationship Id="rId50" Type="http://schemas.openxmlformats.org/officeDocument/2006/relationships/font" Target="fonts/font13.fntdata"/><Relationship Id="rId55" Type="http://schemas.openxmlformats.org/officeDocument/2006/relationships/font" Target="fonts/font18.fntdata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4.xml"/><Relationship Id="rId33" Type="http://schemas.openxmlformats.org/officeDocument/2006/relationships/slide" Target="slides/slide12.xml"/><Relationship Id="rId38" Type="http://schemas.openxmlformats.org/officeDocument/2006/relationships/font" Target="fonts/font1.fntdata"/><Relationship Id="rId46" Type="http://schemas.openxmlformats.org/officeDocument/2006/relationships/font" Target="fonts/font9.fntdata"/><Relationship Id="rId59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" Target="slides/slide8.xml"/><Relationship Id="rId41" Type="http://schemas.openxmlformats.org/officeDocument/2006/relationships/font" Target="fonts/font4.fntdata"/><Relationship Id="rId54" Type="http://schemas.openxmlformats.org/officeDocument/2006/relationships/font" Target="fonts/font17.fntdata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3.xml"/><Relationship Id="rId32" Type="http://schemas.openxmlformats.org/officeDocument/2006/relationships/slide" Target="slides/slide11.xml"/><Relationship Id="rId37" Type="http://schemas.openxmlformats.org/officeDocument/2006/relationships/handoutMaster" Target="handoutMasters/handoutMaster1.xml"/><Relationship Id="rId40" Type="http://schemas.openxmlformats.org/officeDocument/2006/relationships/font" Target="fonts/font3.fntdata"/><Relationship Id="rId45" Type="http://schemas.openxmlformats.org/officeDocument/2006/relationships/font" Target="fonts/font8.fntdata"/><Relationship Id="rId53" Type="http://schemas.openxmlformats.org/officeDocument/2006/relationships/font" Target="fonts/font16.fntdata"/><Relationship Id="rId58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2.xml"/><Relationship Id="rId28" Type="http://schemas.openxmlformats.org/officeDocument/2006/relationships/slide" Target="slides/slide7.xml"/><Relationship Id="rId36" Type="http://schemas.openxmlformats.org/officeDocument/2006/relationships/notesMaster" Target="notesMasters/notesMaster1.xml"/><Relationship Id="rId49" Type="http://schemas.openxmlformats.org/officeDocument/2006/relationships/font" Target="fonts/font12.fntdata"/><Relationship Id="rId57" Type="http://schemas.openxmlformats.org/officeDocument/2006/relationships/viewProps" Target="viewProps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10.xml"/><Relationship Id="rId44" Type="http://schemas.openxmlformats.org/officeDocument/2006/relationships/font" Target="fonts/font7.fntdata"/><Relationship Id="rId52" Type="http://schemas.openxmlformats.org/officeDocument/2006/relationships/font" Target="fonts/font15.fntdata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1.xml"/><Relationship Id="rId27" Type="http://schemas.openxmlformats.org/officeDocument/2006/relationships/slide" Target="slides/slide6.xml"/><Relationship Id="rId30" Type="http://schemas.openxmlformats.org/officeDocument/2006/relationships/slide" Target="slides/slide9.xml"/><Relationship Id="rId35" Type="http://schemas.openxmlformats.org/officeDocument/2006/relationships/slide" Target="slides/slide14.xml"/><Relationship Id="rId43" Type="http://schemas.openxmlformats.org/officeDocument/2006/relationships/font" Target="fonts/font6.fntdata"/><Relationship Id="rId48" Type="http://schemas.openxmlformats.org/officeDocument/2006/relationships/font" Target="fonts/font11.fntdata"/><Relationship Id="rId56" Type="http://schemas.openxmlformats.org/officeDocument/2006/relationships/presProps" Target="presProps.xml"/><Relationship Id="rId8" Type="http://schemas.openxmlformats.org/officeDocument/2006/relationships/slideMaster" Target="slideMasters/slideMaster8.xml"/><Relationship Id="rId51" Type="http://schemas.openxmlformats.org/officeDocument/2006/relationships/font" Target="fonts/font14.fntdata"/><Relationship Id="rId3" Type="http://schemas.openxmlformats.org/officeDocument/2006/relationships/slideMaster" Target="slideMasters/slideMaster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C0B7799-632F-4381-A6E9-7EA00559A2F9}" type="doc">
      <dgm:prSet loTypeId="urn:microsoft.com/office/officeart/2005/8/layout/radial1" loCatId="cycle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ru-RU"/>
        </a:p>
      </dgm:t>
    </dgm:pt>
    <dgm:pt modelId="{9B536E69-852F-4445-96BB-8F8424B965EF}">
      <dgm:prSet phldrT="[Текст]"/>
      <dgm:spPr/>
      <dgm:t>
        <a:bodyPr/>
        <a:lstStyle/>
        <a:p>
          <a:r>
            <a:rPr lang="ru-RU" dirty="0"/>
            <a:t>Корпорации </a:t>
          </a:r>
        </a:p>
      </dgm:t>
    </dgm:pt>
    <dgm:pt modelId="{7BA33729-4338-4EE3-84BE-EB4DFC1F37E3}" type="parTrans" cxnId="{05DDECD8-C632-4DA3-9AD8-B369A7DE1A07}">
      <dgm:prSet/>
      <dgm:spPr/>
      <dgm:t>
        <a:bodyPr/>
        <a:lstStyle/>
        <a:p>
          <a:endParaRPr lang="ru-RU"/>
        </a:p>
      </dgm:t>
    </dgm:pt>
    <dgm:pt modelId="{1D9DF3F3-6143-4BC3-B6F9-280247A8C94B}" type="sibTrans" cxnId="{05DDECD8-C632-4DA3-9AD8-B369A7DE1A07}">
      <dgm:prSet/>
      <dgm:spPr/>
      <dgm:t>
        <a:bodyPr/>
        <a:lstStyle/>
        <a:p>
          <a:endParaRPr lang="ru-RU"/>
        </a:p>
      </dgm:t>
    </dgm:pt>
    <dgm:pt modelId="{5927F598-FD7E-4AA4-9AF4-EAEC3A9E4C49}">
      <dgm:prSet phldrT="[Текст]" custT="1"/>
      <dgm:spPr/>
      <dgm:t>
        <a:bodyPr/>
        <a:lstStyle/>
        <a:p>
          <a:r>
            <a:rPr lang="ru-RU" sz="1000" dirty="0"/>
            <a:t>Существу-</a:t>
          </a:r>
          <a:r>
            <a:rPr lang="ru-RU" sz="1000" dirty="0" err="1"/>
            <a:t>ющие</a:t>
          </a:r>
          <a:r>
            <a:rPr lang="ru-RU" sz="1000" dirty="0"/>
            <a:t> клиенты</a:t>
          </a:r>
        </a:p>
      </dgm:t>
    </dgm:pt>
    <dgm:pt modelId="{D232ED69-E980-4A31-971D-0FEA5EF58850}" type="parTrans" cxnId="{C689EC50-D4E9-4519-ABE9-EA8628D1845E}">
      <dgm:prSet/>
      <dgm:spPr/>
      <dgm:t>
        <a:bodyPr/>
        <a:lstStyle/>
        <a:p>
          <a:endParaRPr lang="ru-RU"/>
        </a:p>
      </dgm:t>
    </dgm:pt>
    <dgm:pt modelId="{10AA3680-65F1-4913-9FFF-9DEDDEBC8C40}" type="sibTrans" cxnId="{C689EC50-D4E9-4519-ABE9-EA8628D1845E}">
      <dgm:prSet/>
      <dgm:spPr/>
      <dgm:t>
        <a:bodyPr/>
        <a:lstStyle/>
        <a:p>
          <a:endParaRPr lang="ru-RU"/>
        </a:p>
      </dgm:t>
    </dgm:pt>
    <dgm:pt modelId="{469E946E-EB72-485A-B309-EB1C6AEA306C}">
      <dgm:prSet phldrT="[Текст]" custT="1"/>
      <dgm:spPr/>
      <dgm:t>
        <a:bodyPr/>
        <a:lstStyle/>
        <a:p>
          <a:r>
            <a:rPr lang="ru-RU" sz="1000" dirty="0"/>
            <a:t>Новые рынки</a:t>
          </a:r>
        </a:p>
      </dgm:t>
    </dgm:pt>
    <dgm:pt modelId="{083897EE-1690-4E31-B229-D6389D3608DB}" type="parTrans" cxnId="{11F3A02C-2FCE-435A-94B7-5BACCB777078}">
      <dgm:prSet/>
      <dgm:spPr/>
      <dgm:t>
        <a:bodyPr/>
        <a:lstStyle/>
        <a:p>
          <a:endParaRPr lang="ru-RU"/>
        </a:p>
      </dgm:t>
    </dgm:pt>
    <dgm:pt modelId="{F3E686A0-1183-4C76-84DC-27ED17FC1F05}" type="sibTrans" cxnId="{11F3A02C-2FCE-435A-94B7-5BACCB777078}">
      <dgm:prSet/>
      <dgm:spPr/>
      <dgm:t>
        <a:bodyPr/>
        <a:lstStyle/>
        <a:p>
          <a:endParaRPr lang="ru-RU"/>
        </a:p>
      </dgm:t>
    </dgm:pt>
    <dgm:pt modelId="{65A07ABE-8E97-439F-ADD8-0DC016FB47FF}">
      <dgm:prSet phldrT="[Текст]" custT="1"/>
      <dgm:spPr/>
      <dgm:t>
        <a:bodyPr/>
        <a:lstStyle/>
        <a:p>
          <a:r>
            <a:rPr lang="ru-RU" sz="1000" dirty="0"/>
            <a:t>Технологии и </a:t>
          </a:r>
          <a:r>
            <a:rPr lang="ru-RU" sz="1000" dirty="0" err="1"/>
            <a:t>разработ</a:t>
          </a:r>
          <a:r>
            <a:rPr lang="ru-RU" sz="1000" dirty="0"/>
            <a:t>-чики</a:t>
          </a:r>
        </a:p>
      </dgm:t>
    </dgm:pt>
    <dgm:pt modelId="{FF37A867-0238-4F66-956D-880A83439D0B}" type="parTrans" cxnId="{D66260DC-2453-4D25-AA1E-E72B93FC0808}">
      <dgm:prSet/>
      <dgm:spPr/>
      <dgm:t>
        <a:bodyPr/>
        <a:lstStyle/>
        <a:p>
          <a:endParaRPr lang="ru-RU"/>
        </a:p>
      </dgm:t>
    </dgm:pt>
    <dgm:pt modelId="{A058E76F-CEF2-4390-A4DB-00191749336D}" type="sibTrans" cxnId="{D66260DC-2453-4D25-AA1E-E72B93FC0808}">
      <dgm:prSet/>
      <dgm:spPr/>
      <dgm:t>
        <a:bodyPr/>
        <a:lstStyle/>
        <a:p>
          <a:endParaRPr lang="ru-RU"/>
        </a:p>
      </dgm:t>
    </dgm:pt>
    <dgm:pt modelId="{17802D8D-1453-44CB-8496-E779CBE87987}">
      <dgm:prSet phldrT="[Текст]" custT="1"/>
      <dgm:spPr/>
      <dgm:t>
        <a:bodyPr/>
        <a:lstStyle/>
        <a:p>
          <a:r>
            <a:rPr lang="ru-RU" sz="1000" dirty="0"/>
            <a:t>Стратеги-</a:t>
          </a:r>
          <a:r>
            <a:rPr lang="ru-RU" sz="1000" dirty="0" err="1"/>
            <a:t>ческие</a:t>
          </a:r>
          <a:r>
            <a:rPr lang="ru-RU" sz="1000" dirty="0"/>
            <a:t> партнеры</a:t>
          </a:r>
        </a:p>
      </dgm:t>
    </dgm:pt>
    <dgm:pt modelId="{BBED3BB2-9096-4526-B687-6C3A07217F6A}" type="parTrans" cxnId="{2CAB3F41-AD8D-4984-B015-26A16CD34EB6}">
      <dgm:prSet/>
      <dgm:spPr/>
      <dgm:t>
        <a:bodyPr/>
        <a:lstStyle/>
        <a:p>
          <a:endParaRPr lang="ru-RU"/>
        </a:p>
      </dgm:t>
    </dgm:pt>
    <dgm:pt modelId="{5943E71E-C7AA-4B53-852E-9546895B1F41}" type="sibTrans" cxnId="{2CAB3F41-AD8D-4984-B015-26A16CD34EB6}">
      <dgm:prSet/>
      <dgm:spPr/>
      <dgm:t>
        <a:bodyPr/>
        <a:lstStyle/>
        <a:p>
          <a:endParaRPr lang="ru-RU"/>
        </a:p>
      </dgm:t>
    </dgm:pt>
    <dgm:pt modelId="{4AE14688-78A7-4C79-A7D2-68155258DD2A}">
      <dgm:prSet phldrT="[Текст]" custT="1"/>
      <dgm:spPr/>
      <dgm:t>
        <a:bodyPr/>
        <a:lstStyle/>
        <a:p>
          <a:r>
            <a:rPr lang="ru-RU" sz="1000" dirty="0"/>
            <a:t>Ресурсы и </a:t>
          </a:r>
          <a:r>
            <a:rPr lang="ru-RU" sz="1000" dirty="0" err="1"/>
            <a:t>инструмен</a:t>
          </a:r>
          <a:r>
            <a:rPr lang="ru-RU" sz="1000" dirty="0"/>
            <a:t>-ты</a:t>
          </a:r>
        </a:p>
      </dgm:t>
    </dgm:pt>
    <dgm:pt modelId="{3D5704D1-F422-4003-9D26-5685D62417C4}" type="parTrans" cxnId="{165949D7-36A9-4A39-BC1F-D915C7D3142D}">
      <dgm:prSet/>
      <dgm:spPr/>
      <dgm:t>
        <a:bodyPr/>
        <a:lstStyle/>
        <a:p>
          <a:endParaRPr lang="ru-RU"/>
        </a:p>
      </dgm:t>
    </dgm:pt>
    <dgm:pt modelId="{67588BD5-4A62-42B1-BD5F-289A19EC28DC}" type="sibTrans" cxnId="{165949D7-36A9-4A39-BC1F-D915C7D3142D}">
      <dgm:prSet/>
      <dgm:spPr/>
      <dgm:t>
        <a:bodyPr/>
        <a:lstStyle/>
        <a:p>
          <a:endParaRPr lang="ru-RU"/>
        </a:p>
      </dgm:t>
    </dgm:pt>
    <dgm:pt modelId="{1E786FFA-5A7E-4B47-A7E9-8C3AE3CAE587}" type="pres">
      <dgm:prSet presAssocID="{0C0B7799-632F-4381-A6E9-7EA00559A2F9}" presName="cycle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87E0A422-811E-41F8-99F8-09BE0CB05EF6}" type="pres">
      <dgm:prSet presAssocID="{9B536E69-852F-4445-96BB-8F8424B965EF}" presName="centerShape" presStyleLbl="node0" presStyleIdx="0" presStyleCnt="1"/>
      <dgm:spPr/>
    </dgm:pt>
    <dgm:pt modelId="{D2A2EA4A-ECCB-4D94-A5AE-E7D47E199B65}" type="pres">
      <dgm:prSet presAssocID="{D232ED69-E980-4A31-971D-0FEA5EF58850}" presName="Name9" presStyleLbl="parChTrans1D2" presStyleIdx="0" presStyleCnt="5"/>
      <dgm:spPr/>
    </dgm:pt>
    <dgm:pt modelId="{008E28DA-8B18-422A-A9A3-24434FC65A2B}" type="pres">
      <dgm:prSet presAssocID="{D232ED69-E980-4A31-971D-0FEA5EF58850}" presName="connTx" presStyleLbl="parChTrans1D2" presStyleIdx="0" presStyleCnt="5"/>
      <dgm:spPr/>
    </dgm:pt>
    <dgm:pt modelId="{5EC2D035-9011-424E-9034-E8AD068243FB}" type="pres">
      <dgm:prSet presAssocID="{5927F598-FD7E-4AA4-9AF4-EAEC3A9E4C49}" presName="node" presStyleLbl="node1" presStyleIdx="0" presStyleCnt="5">
        <dgm:presLayoutVars>
          <dgm:bulletEnabled val="1"/>
        </dgm:presLayoutVars>
      </dgm:prSet>
      <dgm:spPr/>
    </dgm:pt>
    <dgm:pt modelId="{DBA3F5FF-7C5E-48CC-965E-4D2B8E899E9A}" type="pres">
      <dgm:prSet presAssocID="{083897EE-1690-4E31-B229-D6389D3608DB}" presName="Name9" presStyleLbl="parChTrans1D2" presStyleIdx="1" presStyleCnt="5"/>
      <dgm:spPr/>
    </dgm:pt>
    <dgm:pt modelId="{72404059-57A1-43CA-BF54-2EC8BB4640C8}" type="pres">
      <dgm:prSet presAssocID="{083897EE-1690-4E31-B229-D6389D3608DB}" presName="connTx" presStyleLbl="parChTrans1D2" presStyleIdx="1" presStyleCnt="5"/>
      <dgm:spPr/>
    </dgm:pt>
    <dgm:pt modelId="{6B68F1F1-EE2A-4DC1-BCED-F96227DFE752}" type="pres">
      <dgm:prSet presAssocID="{469E946E-EB72-485A-B309-EB1C6AEA306C}" presName="node" presStyleLbl="node1" presStyleIdx="1" presStyleCnt="5">
        <dgm:presLayoutVars>
          <dgm:bulletEnabled val="1"/>
        </dgm:presLayoutVars>
      </dgm:prSet>
      <dgm:spPr/>
    </dgm:pt>
    <dgm:pt modelId="{DB8B9800-7E84-4FA5-9ECA-0EF1C66A95DE}" type="pres">
      <dgm:prSet presAssocID="{FF37A867-0238-4F66-956D-880A83439D0B}" presName="Name9" presStyleLbl="parChTrans1D2" presStyleIdx="2" presStyleCnt="5"/>
      <dgm:spPr/>
    </dgm:pt>
    <dgm:pt modelId="{EB651AAA-0B4D-4AD3-BE92-EC9817E469F1}" type="pres">
      <dgm:prSet presAssocID="{FF37A867-0238-4F66-956D-880A83439D0B}" presName="connTx" presStyleLbl="parChTrans1D2" presStyleIdx="2" presStyleCnt="5"/>
      <dgm:spPr/>
    </dgm:pt>
    <dgm:pt modelId="{72C66017-F726-4856-9F9D-022F24893B95}" type="pres">
      <dgm:prSet presAssocID="{65A07ABE-8E97-439F-ADD8-0DC016FB47FF}" presName="node" presStyleLbl="node1" presStyleIdx="2" presStyleCnt="5">
        <dgm:presLayoutVars>
          <dgm:bulletEnabled val="1"/>
        </dgm:presLayoutVars>
      </dgm:prSet>
      <dgm:spPr/>
    </dgm:pt>
    <dgm:pt modelId="{00DB4F3A-C5FF-44A6-8EB2-5B93CCEA1996}" type="pres">
      <dgm:prSet presAssocID="{BBED3BB2-9096-4526-B687-6C3A07217F6A}" presName="Name9" presStyleLbl="parChTrans1D2" presStyleIdx="3" presStyleCnt="5"/>
      <dgm:spPr/>
    </dgm:pt>
    <dgm:pt modelId="{50170094-DCB4-45E5-8BBE-D290DD2A8EAE}" type="pres">
      <dgm:prSet presAssocID="{BBED3BB2-9096-4526-B687-6C3A07217F6A}" presName="connTx" presStyleLbl="parChTrans1D2" presStyleIdx="3" presStyleCnt="5"/>
      <dgm:spPr/>
    </dgm:pt>
    <dgm:pt modelId="{A9C6813D-B97A-4771-8308-AEF748CB66A5}" type="pres">
      <dgm:prSet presAssocID="{17802D8D-1453-44CB-8496-E779CBE87987}" presName="node" presStyleLbl="node1" presStyleIdx="3" presStyleCnt="5">
        <dgm:presLayoutVars>
          <dgm:bulletEnabled val="1"/>
        </dgm:presLayoutVars>
      </dgm:prSet>
      <dgm:spPr/>
    </dgm:pt>
    <dgm:pt modelId="{60C59142-5BFC-4B31-9A9A-C0DCAE7E25C9}" type="pres">
      <dgm:prSet presAssocID="{3D5704D1-F422-4003-9D26-5685D62417C4}" presName="Name9" presStyleLbl="parChTrans1D2" presStyleIdx="4" presStyleCnt="5"/>
      <dgm:spPr/>
    </dgm:pt>
    <dgm:pt modelId="{E885DD68-B15C-4A57-8F00-68A8EDA74FA1}" type="pres">
      <dgm:prSet presAssocID="{3D5704D1-F422-4003-9D26-5685D62417C4}" presName="connTx" presStyleLbl="parChTrans1D2" presStyleIdx="4" presStyleCnt="5"/>
      <dgm:spPr/>
    </dgm:pt>
    <dgm:pt modelId="{FEBFF49A-3009-4CFC-9677-4800B3843F98}" type="pres">
      <dgm:prSet presAssocID="{4AE14688-78A7-4C79-A7D2-68155258DD2A}" presName="node" presStyleLbl="node1" presStyleIdx="4" presStyleCnt="5">
        <dgm:presLayoutVars>
          <dgm:bulletEnabled val="1"/>
        </dgm:presLayoutVars>
      </dgm:prSet>
      <dgm:spPr/>
    </dgm:pt>
  </dgm:ptLst>
  <dgm:cxnLst>
    <dgm:cxn modelId="{93CD0324-02E4-4293-AAB9-053DEA8A475E}" type="presOf" srcId="{9B536E69-852F-4445-96BB-8F8424B965EF}" destId="{87E0A422-811E-41F8-99F8-09BE0CB05EF6}" srcOrd="0" destOrd="0" presId="urn:microsoft.com/office/officeart/2005/8/layout/radial1"/>
    <dgm:cxn modelId="{C55D4D2A-9E93-4108-B7A5-11B9A6329C9A}" type="presOf" srcId="{17802D8D-1453-44CB-8496-E779CBE87987}" destId="{A9C6813D-B97A-4771-8308-AEF748CB66A5}" srcOrd="0" destOrd="0" presId="urn:microsoft.com/office/officeart/2005/8/layout/radial1"/>
    <dgm:cxn modelId="{FC5C122C-32E3-41F4-A297-64148A6A2BBC}" type="presOf" srcId="{FF37A867-0238-4F66-956D-880A83439D0B}" destId="{EB651AAA-0B4D-4AD3-BE92-EC9817E469F1}" srcOrd="1" destOrd="0" presId="urn:microsoft.com/office/officeart/2005/8/layout/radial1"/>
    <dgm:cxn modelId="{11F3A02C-2FCE-435A-94B7-5BACCB777078}" srcId="{9B536E69-852F-4445-96BB-8F8424B965EF}" destId="{469E946E-EB72-485A-B309-EB1C6AEA306C}" srcOrd="1" destOrd="0" parTransId="{083897EE-1690-4E31-B229-D6389D3608DB}" sibTransId="{F3E686A0-1183-4C76-84DC-27ED17FC1F05}"/>
    <dgm:cxn modelId="{F36F2B34-1100-4BFE-9B15-29ACC2AEDF67}" type="presOf" srcId="{D232ED69-E980-4A31-971D-0FEA5EF58850}" destId="{008E28DA-8B18-422A-A9A3-24434FC65A2B}" srcOrd="1" destOrd="0" presId="urn:microsoft.com/office/officeart/2005/8/layout/radial1"/>
    <dgm:cxn modelId="{5B26FF5D-2E60-4D66-9A0A-59E95C29A676}" type="presOf" srcId="{FF37A867-0238-4F66-956D-880A83439D0B}" destId="{DB8B9800-7E84-4FA5-9ECA-0EF1C66A95DE}" srcOrd="0" destOrd="0" presId="urn:microsoft.com/office/officeart/2005/8/layout/radial1"/>
    <dgm:cxn modelId="{2CAB3F41-AD8D-4984-B015-26A16CD34EB6}" srcId="{9B536E69-852F-4445-96BB-8F8424B965EF}" destId="{17802D8D-1453-44CB-8496-E779CBE87987}" srcOrd="3" destOrd="0" parTransId="{BBED3BB2-9096-4526-B687-6C3A07217F6A}" sibTransId="{5943E71E-C7AA-4B53-852E-9546895B1F41}"/>
    <dgm:cxn modelId="{64B91566-E419-4CD5-B77E-8835348A3DEC}" type="presOf" srcId="{083897EE-1690-4E31-B229-D6389D3608DB}" destId="{DBA3F5FF-7C5E-48CC-965E-4D2B8E899E9A}" srcOrd="0" destOrd="0" presId="urn:microsoft.com/office/officeart/2005/8/layout/radial1"/>
    <dgm:cxn modelId="{ACC0FA6C-512C-497B-AB8E-9E2CC486A6CD}" type="presOf" srcId="{0C0B7799-632F-4381-A6E9-7EA00559A2F9}" destId="{1E786FFA-5A7E-4B47-A7E9-8C3AE3CAE587}" srcOrd="0" destOrd="0" presId="urn:microsoft.com/office/officeart/2005/8/layout/radial1"/>
    <dgm:cxn modelId="{C689EC50-D4E9-4519-ABE9-EA8628D1845E}" srcId="{9B536E69-852F-4445-96BB-8F8424B965EF}" destId="{5927F598-FD7E-4AA4-9AF4-EAEC3A9E4C49}" srcOrd="0" destOrd="0" parTransId="{D232ED69-E980-4A31-971D-0FEA5EF58850}" sibTransId="{10AA3680-65F1-4913-9FFF-9DEDDEBC8C40}"/>
    <dgm:cxn modelId="{73021153-822A-436E-9076-33C7825320FE}" type="presOf" srcId="{BBED3BB2-9096-4526-B687-6C3A07217F6A}" destId="{50170094-DCB4-45E5-8BBE-D290DD2A8EAE}" srcOrd="1" destOrd="0" presId="urn:microsoft.com/office/officeart/2005/8/layout/radial1"/>
    <dgm:cxn modelId="{BDE54B81-0823-4F26-93B9-BEFA891A3F29}" type="presOf" srcId="{65A07ABE-8E97-439F-ADD8-0DC016FB47FF}" destId="{72C66017-F726-4856-9F9D-022F24893B95}" srcOrd="0" destOrd="0" presId="urn:microsoft.com/office/officeart/2005/8/layout/radial1"/>
    <dgm:cxn modelId="{661E4E86-59ED-43F0-AD04-2815EC33045C}" type="presOf" srcId="{3D5704D1-F422-4003-9D26-5685D62417C4}" destId="{E885DD68-B15C-4A57-8F00-68A8EDA74FA1}" srcOrd="1" destOrd="0" presId="urn:microsoft.com/office/officeart/2005/8/layout/radial1"/>
    <dgm:cxn modelId="{205F6594-76F1-4A86-8343-2B7FBCA4F5E2}" type="presOf" srcId="{BBED3BB2-9096-4526-B687-6C3A07217F6A}" destId="{00DB4F3A-C5FF-44A6-8EB2-5B93CCEA1996}" srcOrd="0" destOrd="0" presId="urn:microsoft.com/office/officeart/2005/8/layout/radial1"/>
    <dgm:cxn modelId="{13AC1AA2-52C0-4D5A-B55C-C2360B502B65}" type="presOf" srcId="{5927F598-FD7E-4AA4-9AF4-EAEC3A9E4C49}" destId="{5EC2D035-9011-424E-9034-E8AD068243FB}" srcOrd="0" destOrd="0" presId="urn:microsoft.com/office/officeart/2005/8/layout/radial1"/>
    <dgm:cxn modelId="{11A9B9AA-169E-4495-A6C8-9AAFB77417E6}" type="presOf" srcId="{469E946E-EB72-485A-B309-EB1C6AEA306C}" destId="{6B68F1F1-EE2A-4DC1-BCED-F96227DFE752}" srcOrd="0" destOrd="0" presId="urn:microsoft.com/office/officeart/2005/8/layout/radial1"/>
    <dgm:cxn modelId="{E0A851AB-68C3-4ACA-BB55-2278C7F9990B}" type="presOf" srcId="{3D5704D1-F422-4003-9D26-5685D62417C4}" destId="{60C59142-5BFC-4B31-9A9A-C0DCAE7E25C9}" srcOrd="0" destOrd="0" presId="urn:microsoft.com/office/officeart/2005/8/layout/radial1"/>
    <dgm:cxn modelId="{04D0A6C1-4EED-4807-B248-F28599052075}" type="presOf" srcId="{4AE14688-78A7-4C79-A7D2-68155258DD2A}" destId="{FEBFF49A-3009-4CFC-9677-4800B3843F98}" srcOrd="0" destOrd="0" presId="urn:microsoft.com/office/officeart/2005/8/layout/radial1"/>
    <dgm:cxn modelId="{165949D7-36A9-4A39-BC1F-D915C7D3142D}" srcId="{9B536E69-852F-4445-96BB-8F8424B965EF}" destId="{4AE14688-78A7-4C79-A7D2-68155258DD2A}" srcOrd="4" destOrd="0" parTransId="{3D5704D1-F422-4003-9D26-5685D62417C4}" sibTransId="{67588BD5-4A62-42B1-BD5F-289A19EC28DC}"/>
    <dgm:cxn modelId="{BE46F8D7-6611-4553-80BE-4205BE016C09}" type="presOf" srcId="{083897EE-1690-4E31-B229-D6389D3608DB}" destId="{72404059-57A1-43CA-BF54-2EC8BB4640C8}" srcOrd="1" destOrd="0" presId="urn:microsoft.com/office/officeart/2005/8/layout/radial1"/>
    <dgm:cxn modelId="{05DDECD8-C632-4DA3-9AD8-B369A7DE1A07}" srcId="{0C0B7799-632F-4381-A6E9-7EA00559A2F9}" destId="{9B536E69-852F-4445-96BB-8F8424B965EF}" srcOrd="0" destOrd="0" parTransId="{7BA33729-4338-4EE3-84BE-EB4DFC1F37E3}" sibTransId="{1D9DF3F3-6143-4BC3-B6F9-280247A8C94B}"/>
    <dgm:cxn modelId="{D66260DC-2453-4D25-AA1E-E72B93FC0808}" srcId="{9B536E69-852F-4445-96BB-8F8424B965EF}" destId="{65A07ABE-8E97-439F-ADD8-0DC016FB47FF}" srcOrd="2" destOrd="0" parTransId="{FF37A867-0238-4F66-956D-880A83439D0B}" sibTransId="{A058E76F-CEF2-4390-A4DB-00191749336D}"/>
    <dgm:cxn modelId="{DFADFAFB-3ACA-4A12-89FC-8D3C6E30E0A8}" type="presOf" srcId="{D232ED69-E980-4A31-971D-0FEA5EF58850}" destId="{D2A2EA4A-ECCB-4D94-A5AE-E7D47E199B65}" srcOrd="0" destOrd="0" presId="urn:microsoft.com/office/officeart/2005/8/layout/radial1"/>
    <dgm:cxn modelId="{65A1FF3A-E947-4848-9B2A-E0ADAFA6DEE6}" type="presParOf" srcId="{1E786FFA-5A7E-4B47-A7E9-8C3AE3CAE587}" destId="{87E0A422-811E-41F8-99F8-09BE0CB05EF6}" srcOrd="0" destOrd="0" presId="urn:microsoft.com/office/officeart/2005/8/layout/radial1"/>
    <dgm:cxn modelId="{2100BD2A-9C4E-4B3E-ADDB-557B5C2CE759}" type="presParOf" srcId="{1E786FFA-5A7E-4B47-A7E9-8C3AE3CAE587}" destId="{D2A2EA4A-ECCB-4D94-A5AE-E7D47E199B65}" srcOrd="1" destOrd="0" presId="urn:microsoft.com/office/officeart/2005/8/layout/radial1"/>
    <dgm:cxn modelId="{C3CDD53F-2A6B-44E7-9133-0AF31697C9CA}" type="presParOf" srcId="{D2A2EA4A-ECCB-4D94-A5AE-E7D47E199B65}" destId="{008E28DA-8B18-422A-A9A3-24434FC65A2B}" srcOrd="0" destOrd="0" presId="urn:microsoft.com/office/officeart/2005/8/layout/radial1"/>
    <dgm:cxn modelId="{9E6B2AEC-A97E-4C42-8D29-2DC4411E4DB0}" type="presParOf" srcId="{1E786FFA-5A7E-4B47-A7E9-8C3AE3CAE587}" destId="{5EC2D035-9011-424E-9034-E8AD068243FB}" srcOrd="2" destOrd="0" presId="urn:microsoft.com/office/officeart/2005/8/layout/radial1"/>
    <dgm:cxn modelId="{74BCAA29-25DC-46AF-A3B1-F606C70899AA}" type="presParOf" srcId="{1E786FFA-5A7E-4B47-A7E9-8C3AE3CAE587}" destId="{DBA3F5FF-7C5E-48CC-965E-4D2B8E899E9A}" srcOrd="3" destOrd="0" presId="urn:microsoft.com/office/officeart/2005/8/layout/radial1"/>
    <dgm:cxn modelId="{AF51010A-008F-453D-81A0-47EE222245AB}" type="presParOf" srcId="{DBA3F5FF-7C5E-48CC-965E-4D2B8E899E9A}" destId="{72404059-57A1-43CA-BF54-2EC8BB4640C8}" srcOrd="0" destOrd="0" presId="urn:microsoft.com/office/officeart/2005/8/layout/radial1"/>
    <dgm:cxn modelId="{8EBC8EEB-CB7D-4552-9449-69B3B1BD5C4E}" type="presParOf" srcId="{1E786FFA-5A7E-4B47-A7E9-8C3AE3CAE587}" destId="{6B68F1F1-EE2A-4DC1-BCED-F96227DFE752}" srcOrd="4" destOrd="0" presId="urn:microsoft.com/office/officeart/2005/8/layout/radial1"/>
    <dgm:cxn modelId="{683A4ACD-21DE-48A2-B6F0-32C8FE6ADAB0}" type="presParOf" srcId="{1E786FFA-5A7E-4B47-A7E9-8C3AE3CAE587}" destId="{DB8B9800-7E84-4FA5-9ECA-0EF1C66A95DE}" srcOrd="5" destOrd="0" presId="urn:microsoft.com/office/officeart/2005/8/layout/radial1"/>
    <dgm:cxn modelId="{AA4B64F7-B306-4ACF-83C7-3551F33DA94E}" type="presParOf" srcId="{DB8B9800-7E84-4FA5-9ECA-0EF1C66A95DE}" destId="{EB651AAA-0B4D-4AD3-BE92-EC9817E469F1}" srcOrd="0" destOrd="0" presId="urn:microsoft.com/office/officeart/2005/8/layout/radial1"/>
    <dgm:cxn modelId="{D13D8D17-B9A1-4314-BACD-64B586FE4C5A}" type="presParOf" srcId="{1E786FFA-5A7E-4B47-A7E9-8C3AE3CAE587}" destId="{72C66017-F726-4856-9F9D-022F24893B95}" srcOrd="6" destOrd="0" presId="urn:microsoft.com/office/officeart/2005/8/layout/radial1"/>
    <dgm:cxn modelId="{F188C7F1-0C8A-4868-9FDF-51D5751AAD16}" type="presParOf" srcId="{1E786FFA-5A7E-4B47-A7E9-8C3AE3CAE587}" destId="{00DB4F3A-C5FF-44A6-8EB2-5B93CCEA1996}" srcOrd="7" destOrd="0" presId="urn:microsoft.com/office/officeart/2005/8/layout/radial1"/>
    <dgm:cxn modelId="{27819216-DC43-4AA8-B80C-91578F1B2FC4}" type="presParOf" srcId="{00DB4F3A-C5FF-44A6-8EB2-5B93CCEA1996}" destId="{50170094-DCB4-45E5-8BBE-D290DD2A8EAE}" srcOrd="0" destOrd="0" presId="urn:microsoft.com/office/officeart/2005/8/layout/radial1"/>
    <dgm:cxn modelId="{68D96EB3-B43D-4098-B4BA-DEA5AEC71CB2}" type="presParOf" srcId="{1E786FFA-5A7E-4B47-A7E9-8C3AE3CAE587}" destId="{A9C6813D-B97A-4771-8308-AEF748CB66A5}" srcOrd="8" destOrd="0" presId="urn:microsoft.com/office/officeart/2005/8/layout/radial1"/>
    <dgm:cxn modelId="{ECF78DCE-8601-4371-9C8B-AA20D9044E1B}" type="presParOf" srcId="{1E786FFA-5A7E-4B47-A7E9-8C3AE3CAE587}" destId="{60C59142-5BFC-4B31-9A9A-C0DCAE7E25C9}" srcOrd="9" destOrd="0" presId="urn:microsoft.com/office/officeart/2005/8/layout/radial1"/>
    <dgm:cxn modelId="{A22AB417-BACE-423F-AAA1-2B312AAFF0E4}" type="presParOf" srcId="{60C59142-5BFC-4B31-9A9A-C0DCAE7E25C9}" destId="{E885DD68-B15C-4A57-8F00-68A8EDA74FA1}" srcOrd="0" destOrd="0" presId="urn:microsoft.com/office/officeart/2005/8/layout/radial1"/>
    <dgm:cxn modelId="{9FB0D229-AFD7-4A53-B844-68BF0CB61AFA}" type="presParOf" srcId="{1E786FFA-5A7E-4B47-A7E9-8C3AE3CAE587}" destId="{FEBFF49A-3009-4CFC-9677-4800B3843F98}" srcOrd="10" destOrd="0" presId="urn:microsoft.com/office/officeart/2005/8/layout/radial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7E0A422-811E-41F8-99F8-09BE0CB05EF6}">
      <dsp:nvSpPr>
        <dsp:cNvPr id="0" name=""/>
        <dsp:cNvSpPr/>
      </dsp:nvSpPr>
      <dsp:spPr>
        <a:xfrm>
          <a:off x="2403818" y="1559560"/>
          <a:ext cx="1197876" cy="119787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000" kern="1200" dirty="0"/>
            <a:t>Корпорации </a:t>
          </a:r>
        </a:p>
      </dsp:txBody>
      <dsp:txXfrm>
        <a:off x="2579243" y="1734985"/>
        <a:ext cx="847026" cy="847026"/>
      </dsp:txXfrm>
    </dsp:sp>
    <dsp:sp modelId="{D2A2EA4A-ECCB-4D94-A5AE-E7D47E199B65}">
      <dsp:nvSpPr>
        <dsp:cNvPr id="0" name=""/>
        <dsp:cNvSpPr/>
      </dsp:nvSpPr>
      <dsp:spPr>
        <a:xfrm rot="16200000">
          <a:off x="2822964" y="1361817"/>
          <a:ext cx="359584" cy="35903"/>
        </a:xfrm>
        <a:custGeom>
          <a:avLst/>
          <a:gdLst/>
          <a:ahLst/>
          <a:cxnLst/>
          <a:rect l="0" t="0" r="0" b="0"/>
          <a:pathLst>
            <a:path>
              <a:moveTo>
                <a:pt x="0" y="17951"/>
              </a:moveTo>
              <a:lnTo>
                <a:pt x="359584" y="17951"/>
              </a:lnTo>
            </a:path>
          </a:pathLst>
        </a:custGeom>
        <a:noFill/>
        <a:ln w="127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500" kern="1200"/>
        </a:p>
      </dsp:txBody>
      <dsp:txXfrm>
        <a:off x="2993766" y="1370779"/>
        <a:ext cx="17979" cy="17979"/>
      </dsp:txXfrm>
    </dsp:sp>
    <dsp:sp modelId="{5EC2D035-9011-424E-9034-E8AD068243FB}">
      <dsp:nvSpPr>
        <dsp:cNvPr id="0" name=""/>
        <dsp:cNvSpPr/>
      </dsp:nvSpPr>
      <dsp:spPr>
        <a:xfrm>
          <a:off x="2403818" y="2099"/>
          <a:ext cx="1197876" cy="119787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000" kern="1200" dirty="0"/>
            <a:t>Существу-</a:t>
          </a:r>
          <a:r>
            <a:rPr lang="ru-RU" sz="1000" kern="1200" dirty="0" err="1"/>
            <a:t>ющие</a:t>
          </a:r>
          <a:r>
            <a:rPr lang="ru-RU" sz="1000" kern="1200" dirty="0"/>
            <a:t> клиенты</a:t>
          </a:r>
        </a:p>
      </dsp:txBody>
      <dsp:txXfrm>
        <a:off x="2579243" y="177524"/>
        <a:ext cx="847026" cy="847026"/>
      </dsp:txXfrm>
    </dsp:sp>
    <dsp:sp modelId="{DBA3F5FF-7C5E-48CC-965E-4D2B8E899E9A}">
      <dsp:nvSpPr>
        <dsp:cNvPr id="0" name=""/>
        <dsp:cNvSpPr/>
      </dsp:nvSpPr>
      <dsp:spPr>
        <a:xfrm rot="20520000">
          <a:off x="3563581" y="1899906"/>
          <a:ext cx="359584" cy="35903"/>
        </a:xfrm>
        <a:custGeom>
          <a:avLst/>
          <a:gdLst/>
          <a:ahLst/>
          <a:cxnLst/>
          <a:rect l="0" t="0" r="0" b="0"/>
          <a:pathLst>
            <a:path>
              <a:moveTo>
                <a:pt x="0" y="17951"/>
              </a:moveTo>
              <a:lnTo>
                <a:pt x="359584" y="17951"/>
              </a:lnTo>
            </a:path>
          </a:pathLst>
        </a:custGeom>
        <a:noFill/>
        <a:ln w="127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500" kern="1200"/>
        </a:p>
      </dsp:txBody>
      <dsp:txXfrm>
        <a:off x="3734383" y="1908868"/>
        <a:ext cx="17979" cy="17979"/>
      </dsp:txXfrm>
    </dsp:sp>
    <dsp:sp modelId="{6B68F1F1-EE2A-4DC1-BCED-F96227DFE752}">
      <dsp:nvSpPr>
        <dsp:cNvPr id="0" name=""/>
        <dsp:cNvSpPr/>
      </dsp:nvSpPr>
      <dsp:spPr>
        <a:xfrm>
          <a:off x="3885051" y="1078278"/>
          <a:ext cx="1197876" cy="119787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000" kern="1200" dirty="0"/>
            <a:t>Новые рынки</a:t>
          </a:r>
        </a:p>
      </dsp:txBody>
      <dsp:txXfrm>
        <a:off x="4060476" y="1253703"/>
        <a:ext cx="847026" cy="847026"/>
      </dsp:txXfrm>
    </dsp:sp>
    <dsp:sp modelId="{DB8B9800-7E84-4FA5-9ECA-0EF1C66A95DE}">
      <dsp:nvSpPr>
        <dsp:cNvPr id="0" name=""/>
        <dsp:cNvSpPr/>
      </dsp:nvSpPr>
      <dsp:spPr>
        <a:xfrm rot="3240000">
          <a:off x="3280690" y="2770553"/>
          <a:ext cx="359584" cy="35903"/>
        </a:xfrm>
        <a:custGeom>
          <a:avLst/>
          <a:gdLst/>
          <a:ahLst/>
          <a:cxnLst/>
          <a:rect l="0" t="0" r="0" b="0"/>
          <a:pathLst>
            <a:path>
              <a:moveTo>
                <a:pt x="0" y="17951"/>
              </a:moveTo>
              <a:lnTo>
                <a:pt x="359584" y="17951"/>
              </a:lnTo>
            </a:path>
          </a:pathLst>
        </a:custGeom>
        <a:noFill/>
        <a:ln w="127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500" kern="1200"/>
        </a:p>
      </dsp:txBody>
      <dsp:txXfrm>
        <a:off x="3451493" y="2779516"/>
        <a:ext cx="17979" cy="17979"/>
      </dsp:txXfrm>
    </dsp:sp>
    <dsp:sp modelId="{72C66017-F726-4856-9F9D-022F24893B95}">
      <dsp:nvSpPr>
        <dsp:cNvPr id="0" name=""/>
        <dsp:cNvSpPr/>
      </dsp:nvSpPr>
      <dsp:spPr>
        <a:xfrm>
          <a:off x="3319270" y="2819573"/>
          <a:ext cx="1197876" cy="119787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000" kern="1200" dirty="0"/>
            <a:t>Технологии и </a:t>
          </a:r>
          <a:r>
            <a:rPr lang="ru-RU" sz="1000" kern="1200" dirty="0" err="1"/>
            <a:t>разработ</a:t>
          </a:r>
          <a:r>
            <a:rPr lang="ru-RU" sz="1000" kern="1200" dirty="0"/>
            <a:t>-чики</a:t>
          </a:r>
        </a:p>
      </dsp:txBody>
      <dsp:txXfrm>
        <a:off x="3494695" y="2994998"/>
        <a:ext cx="847026" cy="847026"/>
      </dsp:txXfrm>
    </dsp:sp>
    <dsp:sp modelId="{00DB4F3A-C5FF-44A6-8EB2-5B93CCEA1996}">
      <dsp:nvSpPr>
        <dsp:cNvPr id="0" name=""/>
        <dsp:cNvSpPr/>
      </dsp:nvSpPr>
      <dsp:spPr>
        <a:xfrm rot="7560000">
          <a:off x="2365237" y="2770553"/>
          <a:ext cx="359584" cy="35903"/>
        </a:xfrm>
        <a:custGeom>
          <a:avLst/>
          <a:gdLst/>
          <a:ahLst/>
          <a:cxnLst/>
          <a:rect l="0" t="0" r="0" b="0"/>
          <a:pathLst>
            <a:path>
              <a:moveTo>
                <a:pt x="0" y="17951"/>
              </a:moveTo>
              <a:lnTo>
                <a:pt x="359584" y="17951"/>
              </a:lnTo>
            </a:path>
          </a:pathLst>
        </a:custGeom>
        <a:noFill/>
        <a:ln w="127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500" kern="1200"/>
        </a:p>
      </dsp:txBody>
      <dsp:txXfrm rot="10800000">
        <a:off x="2536040" y="2779516"/>
        <a:ext cx="17979" cy="17979"/>
      </dsp:txXfrm>
    </dsp:sp>
    <dsp:sp modelId="{A9C6813D-B97A-4771-8308-AEF748CB66A5}">
      <dsp:nvSpPr>
        <dsp:cNvPr id="0" name=""/>
        <dsp:cNvSpPr/>
      </dsp:nvSpPr>
      <dsp:spPr>
        <a:xfrm>
          <a:off x="1488365" y="2819573"/>
          <a:ext cx="1197876" cy="119787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000" kern="1200" dirty="0"/>
            <a:t>Стратеги-</a:t>
          </a:r>
          <a:r>
            <a:rPr lang="ru-RU" sz="1000" kern="1200" dirty="0" err="1"/>
            <a:t>ческие</a:t>
          </a:r>
          <a:r>
            <a:rPr lang="ru-RU" sz="1000" kern="1200" dirty="0"/>
            <a:t> партнеры</a:t>
          </a:r>
        </a:p>
      </dsp:txBody>
      <dsp:txXfrm>
        <a:off x="1663790" y="2994998"/>
        <a:ext cx="847026" cy="847026"/>
      </dsp:txXfrm>
    </dsp:sp>
    <dsp:sp modelId="{60C59142-5BFC-4B31-9A9A-C0DCAE7E25C9}">
      <dsp:nvSpPr>
        <dsp:cNvPr id="0" name=""/>
        <dsp:cNvSpPr/>
      </dsp:nvSpPr>
      <dsp:spPr>
        <a:xfrm rot="11880000">
          <a:off x="2082347" y="1899906"/>
          <a:ext cx="359584" cy="35903"/>
        </a:xfrm>
        <a:custGeom>
          <a:avLst/>
          <a:gdLst/>
          <a:ahLst/>
          <a:cxnLst/>
          <a:rect l="0" t="0" r="0" b="0"/>
          <a:pathLst>
            <a:path>
              <a:moveTo>
                <a:pt x="0" y="17951"/>
              </a:moveTo>
              <a:lnTo>
                <a:pt x="359584" y="17951"/>
              </a:lnTo>
            </a:path>
          </a:pathLst>
        </a:custGeom>
        <a:noFill/>
        <a:ln w="127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500" kern="1200"/>
        </a:p>
      </dsp:txBody>
      <dsp:txXfrm rot="10800000">
        <a:off x="2253150" y="1908868"/>
        <a:ext cx="17979" cy="17979"/>
      </dsp:txXfrm>
    </dsp:sp>
    <dsp:sp modelId="{FEBFF49A-3009-4CFC-9677-4800B3843F98}">
      <dsp:nvSpPr>
        <dsp:cNvPr id="0" name=""/>
        <dsp:cNvSpPr/>
      </dsp:nvSpPr>
      <dsp:spPr>
        <a:xfrm>
          <a:off x="922584" y="1078278"/>
          <a:ext cx="1197876" cy="119787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000" kern="1200" dirty="0"/>
            <a:t>Ресурсы и </a:t>
          </a:r>
          <a:r>
            <a:rPr lang="ru-RU" sz="1000" kern="1200" dirty="0" err="1"/>
            <a:t>инструмен</a:t>
          </a:r>
          <a:r>
            <a:rPr lang="ru-RU" sz="1000" kern="1200" dirty="0"/>
            <a:t>-ты</a:t>
          </a:r>
        </a:p>
      </dsp:txBody>
      <dsp:txXfrm>
        <a:off x="1098009" y="1253703"/>
        <a:ext cx="847026" cy="84702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1">
  <dgm:title val=""/>
  <dgm:desc val=""/>
  <dgm:catLst>
    <dgm:cat type="relationship" pri="22000"/>
    <dgm:cat type="cycle" pri="1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4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5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op="equ"/>
      <dgm:constr type="sp" refType="w" refFor="ch" refForName="node" fact="0.3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connTx" val="55"/>
      <dgm:constr type="primFontSz" for="des" forName="connTx" refType="primFontSz" refFor="ch" refForName="centerShape" op="lte" fact="0.8"/>
    </dgm:constrLst>
    <dgm:ruleLst/>
    <dgm:forEach name="Name6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</dgm:constrLst>
        <dgm:ruleLst>
          <dgm:rule type="primFontSz" val="5" fact="NaN" max="NaN"/>
        </dgm:ruleLst>
      </dgm:layoutNode>
      <dgm:forEach name="Name7" axis="ch">
        <dgm:forEach name="Name8" axis="self" ptType="parTrans">
          <dgm:layoutNode name="Name9">
            <dgm:alg type="conn">
              <dgm:param type="dim" val="1D"/>
              <dgm:param type="begPts" val="auto"/>
              <dgm:param type="endPts" val="auto"/>
              <dgm:param type="begSty" val="noArr"/>
              <dgm:param type="endSty" val="no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connDist"/>
              <dgm:constr type="userA" for="ch" refType="connDist"/>
              <dgm:constr type="w" val="1"/>
              <dgm:constr type="h" val="5"/>
              <dgm:constr type="begPad"/>
              <dgm:constr type="endPad"/>
            </dgm:constrLst>
            <dgm:ruleLst/>
            <dgm:layoutNode name="connTx">
              <dgm:alg type="tx">
                <dgm:param type="autoTxRot" val="grav"/>
              </dgm:alg>
              <dgm:shape xmlns:r="http://schemas.openxmlformats.org/officeDocument/2006/relationships" type="rect" r:blip="" hideGeom="1">
                <dgm:adjLst/>
              </dgm:shape>
              <dgm:presOf axis="self"/>
              <dgm:constrLst>
                <dgm:constr type="userA"/>
                <dgm:constr type="w" refType="userA" fact="0.05"/>
                <dgm:constr type="h" refType="userA" fact="0.05"/>
                <dgm:constr type="lMarg" val="1"/>
                <dgm:constr type="rMarg" val="1"/>
                <dgm:constr type="tMarg"/>
                <dgm:constr type="bMarg"/>
              </dgm:constrLst>
              <dgm:ruleLst>
                <dgm:rule type="w" val="NaN" fact="0.8" max="NaN"/>
                <dgm:rule type="h" val="NaN" fact="1" max="NaN"/>
                <dgm:rule type="primFontSz" val="5" fact="NaN" max="NaN"/>
              </dgm:ruleLst>
            </dgm:layoutNode>
          </dgm:layoutNode>
        </dgm:forEach>
        <dgm:forEach name="Name10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2C5481-E233-40B8-8B44-5CCC885CC34A}" type="datetimeFigureOut">
              <a:rPr lang="ru-RU" smtClean="0"/>
              <a:t>08.12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E85523-8585-4B4E-8B8C-DE9B75444C9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10841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ax="2560" units="cm"/>
          <inkml:channel name="Y" type="integer" max="1440" units="cm"/>
          <inkml:channel name="T" type="integer" max="2.14748E9" units="dev"/>
        </inkml:traceFormat>
        <inkml:channelProperties>
          <inkml:channelProperty channel="X" name="resolution" value="82.84789" units="1/cm"/>
          <inkml:channelProperty channel="Y" name="resolution" value="82.75862" units="1/cm"/>
          <inkml:channelProperty channel="T" name="resolution" value="1" units="1/dev"/>
        </inkml:channelProperties>
      </inkml:inkSource>
      <inkml:timestamp xml:id="ts0" timeString="2020-04-20T20:32:06.248"/>
    </inkml:context>
    <inkml:brush xml:id="br0">
      <inkml:brushProperty name="width" value="0.46667" units="cm"/>
      <inkml:brushProperty name="height" value="0.93333" units="cm"/>
      <inkml:brushProperty name="color" value="#00FF00"/>
      <inkml:brushProperty name="tip" value="rectangle"/>
      <inkml:brushProperty name="rasterOp" value="maskPen"/>
      <inkml:brushProperty name="fitToCurve" value="1"/>
    </inkml:brush>
  </inkml:definitions>
  <inkml:trace contextRef="#ctx0" brushRef="#br0">-1 0 0,'97'0'109,"135"0"-93,40 0-16,-1 0 15,-135 0-15,58 0 16,77 0-16,-96 0 16,19 0-1,-59 0-15,-96 0 16,58 0-16,-39 0 15,-38 0-15,19 0 16,-20 0-16,0 0 16,1 0-16,-1 0 15,20 0-15,0 0 16,-20 0 15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ax="2560" units="cm"/>
          <inkml:channel name="Y" type="integer" max="1440" units="cm"/>
          <inkml:channel name="T" type="integer" max="2.14748E9" units="dev"/>
        </inkml:traceFormat>
        <inkml:channelProperties>
          <inkml:channelProperty channel="X" name="resolution" value="82.84789" units="1/cm"/>
          <inkml:channelProperty channel="Y" name="resolution" value="82.75862" units="1/cm"/>
          <inkml:channelProperty channel="T" name="resolution" value="1" units="1/dev"/>
        </inkml:channelProperties>
      </inkml:inkSource>
      <inkml:timestamp xml:id="ts0" timeString="2020-04-20T20:32:12.447"/>
    </inkml:context>
    <inkml:brush xml:id="br0">
      <inkml:brushProperty name="width" value="0.46667" units="cm"/>
      <inkml:brushProperty name="height" value="0.93333" units="cm"/>
      <inkml:brushProperty name="color" value="#00FF00"/>
      <inkml:brushProperty name="tip" value="rectangle"/>
      <inkml:brushProperty name="rasterOp" value="maskPen"/>
      <inkml:brushProperty name="fitToCurve" value="1"/>
    </inkml:brush>
  </inkml:definitions>
  <inkml:trace contextRef="#ctx0" brushRef="#br0">0 39 0,'97'0'203,"39"-20"-187,58 20 0,-20 0-16,-77 0 0,78 0 15,-59 0 1,-19 0-16,-39 0 15,0 0-15,-19 0 16,-20 0-16,1 0 297,19 0-297,38 0 16,-57 0 140,-1 0-125,0 0 0,20 0-31,-19 0 16,-1 0-16,0 0 16,20 0-1,-20 0 79,1 0 281,-1-19-359,1 19-1,-1 0 1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ax="2560" units="cm"/>
          <inkml:channel name="Y" type="integer" max="1440" units="cm"/>
          <inkml:channel name="T" type="integer" max="2.14748E9" units="dev"/>
        </inkml:traceFormat>
        <inkml:channelProperties>
          <inkml:channelProperty channel="X" name="resolution" value="82.84789" units="1/cm"/>
          <inkml:channelProperty channel="Y" name="resolution" value="82.75862" units="1/cm"/>
          <inkml:channelProperty channel="T" name="resolution" value="1" units="1/dev"/>
        </inkml:channelProperties>
      </inkml:inkSource>
      <inkml:timestamp xml:id="ts0" timeString="2020-04-20T20:32:15.640"/>
    </inkml:context>
    <inkml:brush xml:id="br0">
      <inkml:brushProperty name="width" value="0.46667" units="cm"/>
      <inkml:brushProperty name="height" value="0.93333" units="cm"/>
      <inkml:brushProperty name="color" value="#00FF00"/>
      <inkml:brushProperty name="tip" value="rectangle"/>
      <inkml:brushProperty name="rasterOp" value="maskPen"/>
      <inkml:brushProperty name="fitToCurve" value="1"/>
    </inkml:brush>
  </inkml:definitions>
  <inkml:trace contextRef="#ctx0" brushRef="#br0">0 1 0,'97'20'156,"97"-20"-140,77 0-16,-38 0 16,-20 0-16,-19 0 15,-19 0-15,-59 0 16,-19 0-16,-58 0 15,0 0-15,19 0 94,-19 0-94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ax="2560" units="cm"/>
          <inkml:channel name="Y" type="integer" max="1440" units="cm"/>
          <inkml:channel name="T" type="integer" max="2.14748E9" units="dev"/>
        </inkml:traceFormat>
        <inkml:channelProperties>
          <inkml:channelProperty channel="X" name="resolution" value="82.84789" units="1/cm"/>
          <inkml:channelProperty channel="Y" name="resolution" value="82.75862" units="1/cm"/>
          <inkml:channelProperty channel="T" name="resolution" value="1" units="1/dev"/>
        </inkml:channelProperties>
      </inkml:inkSource>
      <inkml:timestamp xml:id="ts0" timeString="2020-04-20T20:32:53.333"/>
    </inkml:context>
    <inkml:brush xml:id="br0">
      <inkml:brushProperty name="width" value="0.46667" units="cm"/>
      <inkml:brushProperty name="height" value="0.93333" units="cm"/>
      <inkml:brushProperty name="color" value="#FFFF00"/>
      <inkml:brushProperty name="tip" value="rectangle"/>
      <inkml:brushProperty name="rasterOp" value="maskPen"/>
      <inkml:brushProperty name="fitToCurve" value="1"/>
    </inkml:brush>
  </inkml:definitions>
  <inkml:trace contextRef="#ctx0" brushRef="#br0">-1 0 0,'19'0'125,"59"20"-125,77-20 16,19 0-16,1 0 15,-59 19-15,20 20 16,58-39-16,-39 58 15,-58-58-15,0 0 16,-39 19-16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ax="2560" units="cm"/>
          <inkml:channel name="Y" type="integer" max="1440" units="cm"/>
          <inkml:channel name="T" type="integer" max="2.14748E9" units="dev"/>
        </inkml:traceFormat>
        <inkml:channelProperties>
          <inkml:channelProperty channel="X" name="resolution" value="82.84789" units="1/cm"/>
          <inkml:channelProperty channel="Y" name="resolution" value="82.75862" units="1/cm"/>
          <inkml:channelProperty channel="T" name="resolution" value="1" units="1/dev"/>
        </inkml:channelProperties>
      </inkml:inkSource>
      <inkml:timestamp xml:id="ts0" timeString="2020-04-20T20:32:55.589"/>
    </inkml:context>
    <inkml:brush xml:id="br0">
      <inkml:brushProperty name="width" value="0.46667" units="cm"/>
      <inkml:brushProperty name="height" value="0.93333" units="cm"/>
      <inkml:brushProperty name="color" value="#FFFF00"/>
      <inkml:brushProperty name="tip" value="rectangle"/>
      <inkml:brushProperty name="rasterOp" value="maskPen"/>
      <inkml:brushProperty name="fitToCurve" value="1"/>
    </inkml:brush>
  </inkml:definitions>
  <inkml:trace contextRef="#ctx0" brushRef="#br0">0 1 0,'116'0'141,"20"0"-141,58 20 15,0 39-15,-78-1 16,291-58-16,-96 40 16,-117-1-16,77-39 15,-174 0-15,19 0 16,-77 0-16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ax="2560" units="cm"/>
          <inkml:channel name="Y" type="integer" max="1440" units="cm"/>
          <inkml:channel name="T" type="integer" max="2.14748E9" units="dev"/>
        </inkml:traceFormat>
        <inkml:channelProperties>
          <inkml:channelProperty channel="X" name="resolution" value="82.84789" units="1/cm"/>
          <inkml:channelProperty channel="Y" name="resolution" value="82.75862" units="1/cm"/>
          <inkml:channelProperty channel="T" name="resolution" value="1" units="1/dev"/>
        </inkml:channelProperties>
      </inkml:inkSource>
      <inkml:timestamp xml:id="ts0" timeString="2020-04-20T20:32:59.548"/>
    </inkml:context>
    <inkml:brush xml:id="br0">
      <inkml:brushProperty name="width" value="0.46667" units="cm"/>
      <inkml:brushProperty name="height" value="0.93333" units="cm"/>
      <inkml:brushProperty name="color" value="#FFFF00"/>
      <inkml:brushProperty name="tip" value="rectangle"/>
      <inkml:brushProperty name="rasterOp" value="maskPen"/>
      <inkml:brushProperty name="fitToCurve" value="1"/>
    </inkml:brush>
  </inkml:definitions>
  <inkml:trace contextRef="#ctx0" brushRef="#br0">0 63 0,'78'0'250,"57"0"-234,-18 0-16,-20 0 15,116 0-15,-155 0 16,155-39-16,-96 39 16,-59 0-16,19 0 15,-57 0-15,-1 0 250,20-19-234,38 19-16,-38 0 16,-19 0-16,57 0 15,-19 0-15,-19 0 16,-20 0-16,1 0 15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ax="2560" units="cm"/>
          <inkml:channel name="Y" type="integer" max="1440" units="cm"/>
          <inkml:channel name="T" type="integer" max="2.14748E9" units="dev"/>
        </inkml:traceFormat>
        <inkml:channelProperties>
          <inkml:channelProperty channel="X" name="resolution" value="82.84789" units="1/cm"/>
          <inkml:channelProperty channel="Y" name="resolution" value="82.75862" units="1/cm"/>
          <inkml:channelProperty channel="T" name="resolution" value="1" units="1/dev"/>
        </inkml:channelProperties>
      </inkml:inkSource>
      <inkml:timestamp xml:id="ts0" timeString="2020-04-20T20:33:29.465"/>
    </inkml:context>
    <inkml:brush xml:id="br0">
      <inkml:brushProperty name="width" value="0.46667" units="cm"/>
      <inkml:brushProperty name="height" value="0.93333" units="cm"/>
      <inkml:brushProperty name="color" value="#FFFF00"/>
      <inkml:brushProperty name="tip" value="rectangle"/>
      <inkml:brushProperty name="rasterOp" value="maskPen"/>
      <inkml:brushProperty name="fitToCurve" value="1"/>
    </inkml:brush>
  </inkml:definitions>
  <inkml:trace contextRef="#ctx0" brushRef="#br0">0 1 0,'20'0'141,"193"0"-125,58 0-16,-38 20 15,-97-20-15,135 0 16,1 0-16,57 38 15,-115-38-15,-20 0 16,-117 0-16,-19 0 16,0 0-16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ax="2560" units="cm"/>
          <inkml:channel name="Y" type="integer" max="1440" units="cm"/>
          <inkml:channel name="T" type="integer" max="2.14748E9" units="dev"/>
        </inkml:traceFormat>
        <inkml:channelProperties>
          <inkml:channelProperty channel="X" name="resolution" value="82.84789" units="1/cm"/>
          <inkml:channelProperty channel="Y" name="resolution" value="82.75862" units="1/cm"/>
          <inkml:channelProperty channel="T" name="resolution" value="1" units="1/dev"/>
        </inkml:channelProperties>
      </inkml:inkSource>
      <inkml:timestamp xml:id="ts0" timeString="2020-04-20T20:34:01.413"/>
    </inkml:context>
    <inkml:brush xml:id="br0">
      <inkml:brushProperty name="width" value="0.46667" units="cm"/>
      <inkml:brushProperty name="height" value="0.93333" units="cm"/>
      <inkml:brushProperty name="color" value="#00FF00"/>
      <inkml:brushProperty name="tip" value="rectangle"/>
      <inkml:brushProperty name="rasterOp" value="maskPen"/>
      <inkml:brushProperty name="fitToCurve" value="1"/>
    </inkml:brush>
  </inkml:definitions>
  <inkml:trace contextRef="#ctx0" brushRef="#br0">0 44 0,'97'-39'78,"117"39"-78,-59 0 16,58 0-16,-19 0 15,-58 0-15,-59 0 16,1 0-16,-40 0 15,1 0 1,0 0-16,19 0 125,0 0-109,20 0-16,-39 0 15,19 39-15,-39-39 16,20 0-16,0 19 16,-20-19 46,1 0-62,18 20 16,-18-20-16,38 0 15,-39 0 1,20 0-16,-20 0 16,1 0-16,-1 0 0,1 0 15,-1 0 79,0 0-16,1 0-62,57 0-16,-38 0 15,39 0-15,-59 0 16,0 0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567E43A-0CBB-4ECF-9484-EE0FFF23A148}" type="datetimeFigureOut">
              <a:rPr lang="ru-RU" smtClean="0"/>
              <a:pPr/>
              <a:t>08.12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867A89-42A7-4D85-9BAB-B9A77A82B01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527545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E2F765-31A5-4EB2-9125-2A5B147599F5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828553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12.pn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14.svg"/></Relationships>
</file>

<file path=ppt/slideLayouts/_rels/slideLayout6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0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16.png"/></Relationships>
</file>

<file path=ppt/slideLayouts/_rels/slideLayout6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0.xml"/><Relationship Id="rId6" Type="http://schemas.openxmlformats.org/officeDocument/2006/relationships/image" Target="../media/image16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image" Target="../media/image18.svg"/><Relationship Id="rId7" Type="http://schemas.openxmlformats.org/officeDocument/2006/relationships/image" Target="../media/image10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0.xml"/><Relationship Id="rId6" Type="http://schemas.openxmlformats.org/officeDocument/2006/relationships/image" Target="../media/image20.png"/><Relationship Id="rId5" Type="http://schemas.microsoft.com/office/2007/relationships/hdphoto" Target="../media/hdphoto2.wdp"/><Relationship Id="rId4" Type="http://schemas.openxmlformats.org/officeDocument/2006/relationships/image" Target="../media/image19.png"/></Relationships>
</file>

<file path=ppt/slideLayouts/_rels/slideLayout6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0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20.png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4.svg"/><Relationship Id="rId7" Type="http://schemas.microsoft.com/office/2007/relationships/hdphoto" Target="../media/hdphoto2.wdp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0.xml"/><Relationship Id="rId6" Type="http://schemas.openxmlformats.org/officeDocument/2006/relationships/image" Target="../media/image19.png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0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0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0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0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0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0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0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0.xml"/><Relationship Id="rId5" Type="http://schemas.openxmlformats.org/officeDocument/2006/relationships/hyperlink" Target="http://www.rusnatt.ru/" TargetMode="External"/><Relationship Id="rId4" Type="http://schemas.openxmlformats.org/officeDocument/2006/relationships/image" Target="../media/image11.svg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rusnatt.ru/" TargetMode="External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0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1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1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1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1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1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1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1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1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1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1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1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0629771" y="260784"/>
            <a:ext cx="1264355" cy="405412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65F2260B-3D43-F744-83BB-B35E5A1A8A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759087"/>
      </p:ext>
    </p:extLst>
  </p:cSld>
  <p:clrMapOvr>
    <a:masterClrMapping/>
  </p:clrMapOvr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C133F4E-8DA1-7249-BC24-FAC35477AAA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0863" y="591784"/>
            <a:ext cx="6625348" cy="5190882"/>
          </a:xfrm>
          <a:prstGeom prst="rect">
            <a:avLst/>
          </a:prstGeom>
        </p:spPr>
        <p:txBody>
          <a:bodyPr/>
          <a:lstStyle>
            <a:lvl1pPr marL="0" marR="0" indent="0" algn="l" defTabSz="91439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80" b="1" i="0">
                <a:solidFill>
                  <a:srgbClr val="003162"/>
                </a:solidFill>
                <a:latin typeface="Mont Bold" panose="00000900000000000000" pitchFamily="50" charset="0"/>
                <a:cs typeface="Mont Bold" panose="00000900000000000000" pitchFamily="50" charset="0"/>
              </a:defRPr>
            </a:lvl1pPr>
          </a:lstStyle>
          <a:p>
            <a:pPr marL="0" marR="0" lvl="0" indent="0" algn="l" defTabSz="91439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1. Название раздела 1</a:t>
            </a:r>
          </a:p>
          <a:p>
            <a:pPr lvl="0"/>
            <a:endParaRPr lang="en-US" dirty="0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193DC0B0-AA1F-B557-E5D6-651B6280A0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1486" y="209088"/>
            <a:ext cx="1619250" cy="1838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26742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00">
          <p15:clr>
            <a:srgbClr val="FBAE40"/>
          </p15:clr>
        </p15:guide>
        <p15:guide id="2" pos="347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414149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C26E4877-3766-8344-B0F1-CFFE27C0CBBC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539708" y="458096"/>
            <a:ext cx="6503494" cy="279154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80" b="1" i="0">
                <a:solidFill>
                  <a:schemeClr val="bg1"/>
                </a:solidFill>
                <a:latin typeface="Mont Heavy DEMO" panose="00000A00000000000000" pitchFamily="50" charset="0"/>
                <a:cs typeface="Mont Heavy DEMO" panose="00000A00000000000000" pitchFamily="50" charset="0"/>
              </a:defRPr>
            </a:lvl1pPr>
          </a:lstStyle>
          <a:p>
            <a:r>
              <a:rPr lang="ru-RU" sz="2880" dirty="0">
                <a:latin typeface="Mont Heavy DEMO" panose="00000A00000000000000" pitchFamily="50" charset="0"/>
              </a:rPr>
              <a:t>НАЗВАНИЕ ПРЕЗЕНТАЦИИ, НАПРИМЕР, УПРАВЛЕНИЕ ПЕРСОНАЛОМ:</a:t>
            </a:r>
            <a:br>
              <a:rPr lang="ru-RU" sz="2880" dirty="0">
                <a:latin typeface="Mont Heavy DEMO" panose="00000A00000000000000" pitchFamily="50" charset="0"/>
              </a:rPr>
            </a:br>
            <a:r>
              <a:rPr lang="ru-RU" sz="2880" dirty="0">
                <a:latin typeface="Mont Heavy DEMO" panose="00000A00000000000000" pitchFamily="50" charset="0"/>
              </a:rPr>
              <a:t>ЛИДЕРСТВО, КОМАНДА, РУКОВОДСТВО </a:t>
            </a:r>
            <a:r>
              <a:rPr lang="ru-RU" sz="2880" dirty="0">
                <a:solidFill>
                  <a:srgbClr val="003162"/>
                </a:solidFill>
                <a:latin typeface="Mont Heavy DEMO" panose="00000A00000000000000" pitchFamily="50" charset="0"/>
              </a:rPr>
              <a:t>ЛЮДЬМИ</a:t>
            </a:r>
            <a:endParaRPr lang="en-US" sz="2880" dirty="0">
              <a:solidFill>
                <a:srgbClr val="003162"/>
              </a:solidFill>
              <a:latin typeface="Mont Heavy DEMO" panose="00000A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27283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325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26E4877-3766-8344-B0F1-CFFE27C0CBBC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550863" y="389516"/>
            <a:ext cx="6503494" cy="279154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80" b="1" i="0">
                <a:solidFill>
                  <a:srgbClr val="003162"/>
                </a:solidFill>
                <a:latin typeface="Mont Heavy DEMO" panose="00000A00000000000000" pitchFamily="50" charset="0"/>
                <a:cs typeface="Mont Heavy DEMO" panose="00000A00000000000000" pitchFamily="50" charset="0"/>
              </a:defRPr>
            </a:lvl1pPr>
          </a:lstStyle>
          <a:p>
            <a:r>
              <a:rPr lang="ru-RU" sz="2880" dirty="0">
                <a:latin typeface="Mont Heavy DEMO" panose="00000A00000000000000" pitchFamily="50" charset="0"/>
              </a:rPr>
              <a:t>НАЗВАНИЕ ПРЕЗЕНТАЦИИ, НАПРИМЕР, УПРАВЛЕНИЕ ПЕРСОНАЛОМ:</a:t>
            </a:r>
            <a:br>
              <a:rPr lang="ru-RU" sz="2880" dirty="0">
                <a:latin typeface="Mont Heavy DEMO" panose="00000A00000000000000" pitchFamily="50" charset="0"/>
              </a:rPr>
            </a:br>
            <a:r>
              <a:rPr lang="ru-RU" sz="2880" dirty="0">
                <a:latin typeface="Mont Heavy DEMO" panose="00000A00000000000000" pitchFamily="50" charset="0"/>
              </a:rPr>
              <a:t>ЛИДЕРСТВО, КОМАНДА, РУКОВОДСТВО </a:t>
            </a:r>
            <a:r>
              <a:rPr lang="ru-RU" sz="2880" dirty="0">
                <a:solidFill>
                  <a:srgbClr val="003162"/>
                </a:solidFill>
                <a:latin typeface="Mont Heavy DEMO" panose="00000A00000000000000" pitchFamily="50" charset="0"/>
              </a:rPr>
              <a:t>ЛЮДЬМИ</a:t>
            </a:r>
            <a:endParaRPr lang="en-US" sz="2880" dirty="0">
              <a:solidFill>
                <a:srgbClr val="003162"/>
              </a:solidFill>
              <a:latin typeface="Mont Heavy DEMO" panose="00000A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1930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347" userDrawn="1">
          <p15:clr>
            <a:srgbClr val="FBAE40"/>
          </p15:clr>
        </p15:guide>
        <p15:guide id="4" pos="7355" userDrawn="1">
          <p15:clr>
            <a:srgbClr val="FBAE40"/>
          </p15:clr>
        </p15:guide>
        <p15:guide id="5" orient="horz" pos="232" userDrawn="1">
          <p15:clr>
            <a:srgbClr val="FBAE40"/>
          </p15:clr>
        </p15:guide>
        <p15:guide id="6" orient="horz" pos="4088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C133F4E-8DA1-7249-BC24-FAC35477AAA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9125" y="591784"/>
            <a:ext cx="6557086" cy="5190882"/>
          </a:xfrm>
          <a:prstGeom prst="rect">
            <a:avLst/>
          </a:prstGeom>
        </p:spPr>
        <p:txBody>
          <a:bodyPr/>
          <a:lstStyle>
            <a:lvl1pPr marL="0" marR="0" indent="0" algn="l" defTabSz="91439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80" b="1" i="0">
                <a:solidFill>
                  <a:srgbClr val="003162"/>
                </a:solidFill>
                <a:latin typeface="Mont Bold" panose="00000900000000000000" pitchFamily="50" charset="0"/>
                <a:cs typeface="Mont Bold" panose="00000900000000000000" pitchFamily="50" charset="0"/>
              </a:defRPr>
            </a:lvl1pPr>
          </a:lstStyle>
          <a:p>
            <a:pPr marL="0" marR="0" lvl="0" indent="0" algn="l" defTabSz="91439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1. Название раздела 1</a:t>
            </a:r>
          </a:p>
          <a:p>
            <a:pPr lvl="0"/>
            <a:endParaRPr lang="en-US" dirty="0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91CA32A5-F441-FBCD-1532-B80097169A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1486" y="209088"/>
            <a:ext cx="1619250" cy="1838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8200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00">
          <p15:clr>
            <a:srgbClr val="FBAE40"/>
          </p15:clr>
        </p15:guide>
        <p15:guide id="2" pos="39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3538647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C133F4E-8DA1-7249-BC24-FAC35477AAA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9126" y="591784"/>
            <a:ext cx="6557086" cy="5190882"/>
          </a:xfrm>
          <a:prstGeom prst="rect">
            <a:avLst/>
          </a:prstGeom>
        </p:spPr>
        <p:txBody>
          <a:bodyPr/>
          <a:lstStyle>
            <a:lvl1pPr marL="0" marR="0" indent="0" algn="l" defTabSz="91439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80" b="1" i="0">
                <a:solidFill>
                  <a:srgbClr val="003162"/>
                </a:solidFill>
                <a:latin typeface="Mont Bold" panose="00000900000000000000" pitchFamily="50" charset="0"/>
                <a:cs typeface="Mont Bold" panose="00000900000000000000" pitchFamily="50" charset="0"/>
              </a:defRPr>
            </a:lvl1pPr>
          </a:lstStyle>
          <a:p>
            <a:pPr marL="0" marR="0" lvl="0" indent="0" algn="l" defTabSz="91439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1. Название раздела 1</a:t>
            </a:r>
          </a:p>
          <a:p>
            <a:pPr lvl="0"/>
            <a:endParaRPr lang="en-US" dirty="0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5151421F-F4FA-FF90-1F2F-E3611724BC2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1486" y="209088"/>
            <a:ext cx="1619250" cy="1838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82292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00">
          <p15:clr>
            <a:srgbClr val="FBAE40"/>
          </p15:clr>
        </p15:guide>
        <p15:guide id="2" pos="39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2500963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C133F4E-8DA1-7249-BC24-FAC35477AAA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9125" y="591784"/>
            <a:ext cx="6557086" cy="5190882"/>
          </a:xfrm>
          <a:prstGeom prst="rect">
            <a:avLst/>
          </a:prstGeom>
        </p:spPr>
        <p:txBody>
          <a:bodyPr/>
          <a:lstStyle>
            <a:lvl1pPr marL="0" marR="0" indent="0" algn="l" defTabSz="91439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80" b="1" i="0">
                <a:solidFill>
                  <a:srgbClr val="003162"/>
                </a:solidFill>
                <a:latin typeface="Mont Bold" panose="00000900000000000000" pitchFamily="50" charset="0"/>
                <a:cs typeface="Mont Bold" panose="00000900000000000000" pitchFamily="50" charset="0"/>
              </a:defRPr>
            </a:lvl1pPr>
          </a:lstStyle>
          <a:p>
            <a:pPr marL="0" marR="0" lvl="0" indent="0" algn="l" defTabSz="91439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1. Название раздела 1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5211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00">
          <p15:clr>
            <a:srgbClr val="FBAE40"/>
          </p15:clr>
        </p15:guide>
        <p15:guide id="2" pos="39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557103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16778"/>
            <a:ext cx="12192000" cy="1069514"/>
          </a:xfrm>
          <a:prstGeom prst="rect">
            <a:avLst/>
          </a:prstGeom>
        </p:spPr>
        <p:txBody>
          <a:bodyPr anchor="ctr"/>
          <a:lstStyle>
            <a:lvl1pPr>
              <a:defRPr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altLang="ko-KR" dirty="0"/>
              <a:t> Free PPT _ Click to add title</a:t>
            </a:r>
            <a:endParaRPr lang="ko-KR" alt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6064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altLang="ko-KR"/>
              <a:t>Образец текста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623392" y="2276872"/>
            <a:ext cx="10972800" cy="3600400"/>
          </a:xfrm>
          <a:prstGeom prst="rect">
            <a:avLst/>
          </a:prstGeom>
        </p:spPr>
        <p:txBody>
          <a:bodyPr lIns="396000" anchor="t"/>
          <a:lstStyle>
            <a:lvl1pPr marL="0" indent="0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altLang="ko-KR"/>
              <a:t>Образец текста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0629771" y="260784"/>
            <a:ext cx="1264355" cy="405412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65F2260B-3D43-F744-83BB-B35E5A1A8A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0633625"/>
      </p:ext>
    </p:extLst>
  </p:cSld>
  <p:clrMapOvr>
    <a:masterClrMapping/>
  </p:clrMapOvr>
  <p:hf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C133F4E-8DA1-7249-BC24-FAC35477AAA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9125" y="591784"/>
            <a:ext cx="6557086" cy="5190882"/>
          </a:xfrm>
          <a:prstGeom prst="rect">
            <a:avLst/>
          </a:prstGeom>
        </p:spPr>
        <p:txBody>
          <a:bodyPr/>
          <a:lstStyle>
            <a:lvl1pPr marL="0" marR="0" indent="0" algn="l" defTabSz="91439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80" b="1" i="0">
                <a:solidFill>
                  <a:srgbClr val="003162"/>
                </a:solidFill>
                <a:latin typeface="Mont Bold" panose="00000900000000000000" pitchFamily="50" charset="0"/>
                <a:cs typeface="Mont Bold" panose="00000900000000000000" pitchFamily="50" charset="0"/>
              </a:defRPr>
            </a:lvl1pPr>
          </a:lstStyle>
          <a:p>
            <a:pPr marL="0" marR="0" lvl="0" indent="0" algn="l" defTabSz="91439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1. Название раздела 1</a:t>
            </a:r>
          </a:p>
          <a:p>
            <a:pPr lvl="0"/>
            <a:endParaRPr lang="en-US" dirty="0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66361DD8-CF98-E324-579A-1B9BD749AA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1486" y="209088"/>
            <a:ext cx="1619250" cy="1838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72250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00">
          <p15:clr>
            <a:srgbClr val="FBAE40"/>
          </p15:clr>
        </p15:guide>
        <p15:guide id="2" pos="39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703321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C133F4E-8DA1-7249-BC24-FAC35477AAA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9125" y="601944"/>
            <a:ext cx="6557086" cy="5190882"/>
          </a:xfrm>
          <a:prstGeom prst="rect">
            <a:avLst/>
          </a:prstGeom>
        </p:spPr>
        <p:txBody>
          <a:bodyPr/>
          <a:lstStyle>
            <a:lvl1pPr marL="0" marR="0" indent="0" algn="l" defTabSz="91439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80" b="1" i="0">
                <a:solidFill>
                  <a:srgbClr val="003162"/>
                </a:solidFill>
                <a:latin typeface="Mont Bold" panose="00000900000000000000" pitchFamily="50" charset="0"/>
                <a:cs typeface="Mont Bold" panose="00000900000000000000" pitchFamily="50" charset="0"/>
              </a:defRPr>
            </a:lvl1pPr>
          </a:lstStyle>
          <a:p>
            <a:pPr marL="0" marR="0" lvl="0" indent="0" algn="l" defTabSz="91439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1. Название раздела 1</a:t>
            </a:r>
          </a:p>
          <a:p>
            <a:pPr lvl="0"/>
            <a:endParaRPr lang="en-US" dirty="0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17BC8884-114D-5A7A-30D1-B04ACCEF92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1486" y="209088"/>
            <a:ext cx="1619250" cy="1838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65124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00">
          <p15:clr>
            <a:srgbClr val="FBAE40"/>
          </p15:clr>
        </p15:guide>
        <p15:guide id="2" pos="39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9212078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C133F4E-8DA1-7249-BC24-FAC35477AAA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9125" y="591784"/>
            <a:ext cx="6557086" cy="5190882"/>
          </a:xfrm>
          <a:prstGeom prst="rect">
            <a:avLst/>
          </a:prstGeom>
        </p:spPr>
        <p:txBody>
          <a:bodyPr/>
          <a:lstStyle>
            <a:lvl1pPr marL="0" marR="0" indent="0" algn="l" defTabSz="91439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80" b="1" i="0">
                <a:solidFill>
                  <a:srgbClr val="003162"/>
                </a:solidFill>
                <a:latin typeface="Mont Bold" panose="00000900000000000000" pitchFamily="50" charset="0"/>
                <a:cs typeface="Mont Bold" panose="00000900000000000000" pitchFamily="50" charset="0"/>
              </a:defRPr>
            </a:lvl1pPr>
          </a:lstStyle>
          <a:p>
            <a:pPr marL="0" marR="0" lvl="0" indent="0" algn="l" defTabSz="91439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1. Название раздела 1</a:t>
            </a:r>
          </a:p>
          <a:p>
            <a:pPr lvl="0"/>
            <a:endParaRPr lang="en-US" dirty="0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C80C3BBA-4C44-76A7-6C4A-7488BCB1BA7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1486" y="209088"/>
            <a:ext cx="1619250" cy="1838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03989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00">
          <p15:clr>
            <a:srgbClr val="FBAE40"/>
          </p15:clr>
        </p15:guide>
        <p15:guide id="2" pos="39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0657885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C133F4E-8DA1-7249-BC24-FAC35477AAA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9125" y="591784"/>
            <a:ext cx="6557086" cy="5190882"/>
          </a:xfrm>
          <a:prstGeom prst="rect">
            <a:avLst/>
          </a:prstGeom>
        </p:spPr>
        <p:txBody>
          <a:bodyPr/>
          <a:lstStyle>
            <a:lvl1pPr marL="0" marR="0" indent="0" algn="l" defTabSz="91439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80" b="1" i="0">
                <a:solidFill>
                  <a:srgbClr val="003162"/>
                </a:solidFill>
                <a:latin typeface="Mont Bold" panose="00000900000000000000" pitchFamily="50" charset="0"/>
                <a:cs typeface="Mont Bold" panose="00000900000000000000" pitchFamily="50" charset="0"/>
              </a:defRPr>
            </a:lvl1pPr>
          </a:lstStyle>
          <a:p>
            <a:pPr marL="0" marR="0" lvl="0" indent="0" algn="l" defTabSz="91439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1. Название раздела 1</a:t>
            </a:r>
          </a:p>
          <a:p>
            <a:pPr lvl="0"/>
            <a:endParaRPr lang="en-US" dirty="0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3DE017C9-0AC3-FD54-F063-334F3A0DE92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1486" y="209088"/>
            <a:ext cx="1619250" cy="1838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47212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00">
          <p15:clr>
            <a:srgbClr val="FBAE40"/>
          </p15:clr>
        </p15:guide>
        <p15:guide id="2" pos="39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237137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C133F4E-8DA1-7249-BC24-FAC35477AAA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9125" y="591784"/>
            <a:ext cx="6557086" cy="5190882"/>
          </a:xfrm>
          <a:prstGeom prst="rect">
            <a:avLst/>
          </a:prstGeom>
        </p:spPr>
        <p:txBody>
          <a:bodyPr/>
          <a:lstStyle>
            <a:lvl1pPr marL="0" marR="0" indent="0" algn="l" defTabSz="91439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80" b="1" i="0">
                <a:solidFill>
                  <a:srgbClr val="003162"/>
                </a:solidFill>
                <a:latin typeface="Mont Bold" panose="00000900000000000000" pitchFamily="50" charset="0"/>
                <a:cs typeface="Mont Bold" panose="00000900000000000000" pitchFamily="50" charset="0"/>
              </a:defRPr>
            </a:lvl1pPr>
          </a:lstStyle>
          <a:p>
            <a:pPr marL="0" marR="0" lvl="0" indent="0" algn="l" defTabSz="91439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1. Название раздела 1</a:t>
            </a:r>
          </a:p>
          <a:p>
            <a:pPr lvl="0"/>
            <a:endParaRPr lang="en-US" dirty="0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626DCDD8-AA5F-D3F6-A79F-AFD679B925A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1486" y="209088"/>
            <a:ext cx="1619250" cy="1838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54476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00">
          <p15:clr>
            <a:srgbClr val="FBAE40"/>
          </p15:clr>
        </p15:guide>
        <p15:guide id="2" pos="39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280529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563" y="0"/>
            <a:ext cx="10032437" cy="1069514"/>
          </a:xfrm>
          <a:prstGeom prst="rect">
            <a:avLst/>
          </a:prstGeom>
        </p:spPr>
        <p:txBody>
          <a:bodyPr anchor="ctr"/>
          <a:lstStyle>
            <a:lvl1pPr>
              <a:defRPr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altLang="ko-KR" dirty="0"/>
              <a:t>Free PPT _ Click to add title</a:t>
            </a:r>
            <a:endParaRPr lang="ko-KR" alt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2831637" y="1268760"/>
            <a:ext cx="8750763" cy="46064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altLang="ko-KR"/>
              <a:t>Образец текста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0"/>
          </p:nvPr>
        </p:nvSpPr>
        <p:spPr>
          <a:xfrm>
            <a:off x="2845429" y="1844825"/>
            <a:ext cx="8750763" cy="4147865"/>
          </a:xfrm>
          <a:prstGeom prst="rect">
            <a:avLst/>
          </a:prstGeom>
        </p:spPr>
        <p:txBody>
          <a:bodyPr lIns="396000" anchor="t"/>
          <a:lstStyle>
            <a:lvl1pPr marL="0" indent="0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altLang="ko-KR"/>
              <a:t>Образец текста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0629771" y="260784"/>
            <a:ext cx="1264355" cy="405412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65F2260B-3D43-F744-83BB-B35E5A1A8A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6039583"/>
      </p:ext>
    </p:extLst>
  </p:cSld>
  <p:clrMapOvr>
    <a:masterClrMapping/>
  </p:clrMapOvr>
  <p:hf hd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C133F4E-8DA1-7249-BC24-FAC35477AAA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9125" y="591784"/>
            <a:ext cx="6557086" cy="5190882"/>
          </a:xfrm>
          <a:prstGeom prst="rect">
            <a:avLst/>
          </a:prstGeom>
        </p:spPr>
        <p:txBody>
          <a:bodyPr/>
          <a:lstStyle>
            <a:lvl1pPr marL="0" marR="0" indent="0" algn="l" defTabSz="91439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80" b="1" i="0">
                <a:solidFill>
                  <a:srgbClr val="003162"/>
                </a:solidFill>
                <a:latin typeface="Mont Bold" panose="00000900000000000000" pitchFamily="50" charset="0"/>
                <a:cs typeface="Mont Bold" panose="00000900000000000000" pitchFamily="50" charset="0"/>
              </a:defRPr>
            </a:lvl1pPr>
          </a:lstStyle>
          <a:p>
            <a:pPr marL="0" marR="0" lvl="0" indent="0" algn="l" defTabSz="91439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1. Название раздела 1</a:t>
            </a:r>
          </a:p>
          <a:p>
            <a:pPr lvl="0"/>
            <a:endParaRPr lang="en-US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8DC017C8-F5A6-800E-0F43-681976EAA1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1486" y="209088"/>
            <a:ext cx="1619250" cy="1838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0047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00">
          <p15:clr>
            <a:srgbClr val="FBAE40"/>
          </p15:clr>
        </p15:guide>
        <p15:guide id="2" pos="39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C133F4E-8DA1-7249-BC24-FAC35477AAA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9125" y="591784"/>
            <a:ext cx="6557086" cy="5190882"/>
          </a:xfrm>
          <a:prstGeom prst="rect">
            <a:avLst/>
          </a:prstGeom>
        </p:spPr>
        <p:txBody>
          <a:bodyPr/>
          <a:lstStyle>
            <a:lvl1pPr marL="0" marR="0" indent="0" algn="l" defTabSz="91439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80" b="1" i="0">
                <a:solidFill>
                  <a:srgbClr val="003162"/>
                </a:solidFill>
                <a:latin typeface="Mont Bold" panose="00000900000000000000" pitchFamily="50" charset="0"/>
                <a:cs typeface="Mont Bold" panose="00000900000000000000" pitchFamily="50" charset="0"/>
              </a:defRPr>
            </a:lvl1pPr>
          </a:lstStyle>
          <a:p>
            <a:pPr marL="0" marR="0" lvl="0" indent="0" algn="l" defTabSz="91439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1. Название раздела 1</a:t>
            </a:r>
          </a:p>
          <a:p>
            <a:pPr lvl="0"/>
            <a:endParaRPr lang="en-US" dirty="0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65F8EDE8-9BEB-2FDE-3089-7295FA923DD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1486" y="209088"/>
            <a:ext cx="1619250" cy="1838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76969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00">
          <p15:clr>
            <a:srgbClr val="FBAE40"/>
          </p15:clr>
        </p15:guide>
        <p15:guide id="2" pos="39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9620306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19124" y="353098"/>
            <a:ext cx="10418221" cy="754939"/>
          </a:xfrm>
          <a:prstGeom prst="rect">
            <a:avLst/>
          </a:prstGeom>
        </p:spPr>
        <p:txBody>
          <a:bodyPr/>
          <a:lstStyle>
            <a:lvl1pPr>
              <a:defRPr lang="ru-RU" sz="3000" b="1" i="0" kern="1200" baseline="0" dirty="0">
                <a:solidFill>
                  <a:srgbClr val="003162"/>
                </a:solidFill>
                <a:latin typeface="Mont Bold" panose="00000900000000000000" pitchFamily="50" charset="0"/>
                <a:ea typeface="+mn-ea"/>
                <a:cs typeface="Mont Bold" panose="00000900000000000000" pitchFamily="50" charset="0"/>
              </a:defRPr>
            </a:lvl1pPr>
          </a:lstStyle>
          <a:p>
            <a:r>
              <a:rPr lang="ru-RU" dirty="0"/>
              <a:t>Название подраздела 1.1 (при наличии подразделов)</a:t>
            </a:r>
          </a:p>
        </p:txBody>
      </p:sp>
      <p:sp>
        <p:nvSpPr>
          <p:cNvPr id="19" name="Объект 18"/>
          <p:cNvSpPr>
            <a:spLocks noGrp="1"/>
          </p:cNvSpPr>
          <p:nvPr>
            <p:ph sz="quarter" idx="10" hasCustomPrompt="1"/>
          </p:nvPr>
        </p:nvSpPr>
        <p:spPr>
          <a:xfrm>
            <a:off x="4550485" y="1323023"/>
            <a:ext cx="7186220" cy="473392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14000"/>
              </a:lnSpc>
              <a:spcBef>
                <a:spcPts val="0"/>
              </a:spcBef>
              <a:buNone/>
              <a:defRPr sz="1800">
                <a:solidFill>
                  <a:srgbClr val="003162"/>
                </a:solidFill>
              </a:defRPr>
            </a:lvl1pPr>
          </a:lstStyle>
          <a:p>
            <a:pPr lvl="0"/>
            <a:r>
              <a:rPr lang="ru-RU" dirty="0"/>
              <a:t>Поезд «Сапсан» или «</a:t>
            </a:r>
            <a:r>
              <a:rPr lang="ru-RU" dirty="0" err="1"/>
              <a:t>Velaro</a:t>
            </a:r>
            <a:r>
              <a:rPr lang="ru-RU" dirty="0"/>
              <a:t> </a:t>
            </a:r>
            <a:r>
              <a:rPr lang="ru-RU" dirty="0" err="1"/>
              <a:t>Rus</a:t>
            </a:r>
            <a:r>
              <a:rPr lang="ru-RU" dirty="0"/>
              <a:t>» — разработка немецкого машиностроительного концерна «Siemens».</a:t>
            </a:r>
            <a:br>
              <a:rPr lang="ru-RU" dirty="0"/>
            </a:br>
            <a:br>
              <a:rPr lang="ru-RU" dirty="0"/>
            </a:br>
            <a:r>
              <a:rPr lang="ru-RU" dirty="0"/>
              <a:t>«Сапсан», построенный для ОАО «РЖД», способен развивать скорость до 350 км./ч., однако на российских железных дорогах его скорость ограничена до 250 км./ч. Несмотря на это, поезд преодолевает расстояние между Москвой и Санкт-Петербургом за рекордное время – 3 часа 45 минут!</a:t>
            </a:r>
          </a:p>
          <a:p>
            <a:pPr lvl="0"/>
            <a:endParaRPr lang="ru-RU" dirty="0"/>
          </a:p>
        </p:txBody>
      </p:sp>
      <p:sp>
        <p:nvSpPr>
          <p:cNvPr id="22" name="Текст 21"/>
          <p:cNvSpPr>
            <a:spLocks noGrp="1"/>
          </p:cNvSpPr>
          <p:nvPr>
            <p:ph type="body" sz="quarter" idx="11" hasCustomPrompt="1"/>
          </p:nvPr>
        </p:nvSpPr>
        <p:spPr>
          <a:xfrm>
            <a:off x="321946" y="5002694"/>
            <a:ext cx="4002629" cy="1043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ru-RU" sz="144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Mont Light" panose="00000500000000000000" pitchFamily="50" charset="0"/>
                <a:ea typeface="+mn-ea"/>
                <a:cs typeface="+mn-cs"/>
              </a:defRPr>
            </a:lvl1pPr>
          </a:lstStyle>
          <a:p>
            <a:pPr>
              <a:lnSpc>
                <a:spcPct val="114000"/>
              </a:lnSpc>
            </a:pPr>
            <a:r>
              <a:rPr lang="ru-RU" sz="600" dirty="0">
                <a:latin typeface="Verdana" pitchFamily="34" charset="0"/>
              </a:rPr>
              <a:t>Сапсан </a:t>
            </a:r>
            <a:r>
              <a:rPr lang="en-US" sz="600" dirty="0">
                <a:latin typeface="Verdana" pitchFamily="34" charset="0"/>
              </a:rPr>
              <a:t>–</a:t>
            </a:r>
            <a:r>
              <a:rPr lang="ru-RU" sz="600" dirty="0">
                <a:latin typeface="Verdana" pitchFamily="34" charset="0"/>
              </a:rPr>
              <a:t> это самая быстрая птица в мире —      по оценкам специалистов, в нападении она способна развивать скорость свыше 322 км/ч.</a:t>
            </a:r>
            <a:endParaRPr lang="ru-RU" sz="600" dirty="0">
              <a:solidFill>
                <a:srgbClr val="FF0000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2619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00">
          <p15:clr>
            <a:srgbClr val="FBAE40"/>
          </p15:clr>
        </p15:guide>
        <p15:guide id="2" pos="39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3EBBF232-E004-24E9-7387-DE1A4317EFD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82397" y="5871820"/>
            <a:ext cx="886533" cy="829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286292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518111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823">
          <p15:clr>
            <a:srgbClr val="FBAE40"/>
          </p15:clr>
        </p15:guide>
        <p15:guide id="2" pos="39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1810131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02466E5-C2DA-1248-93EB-E9373543C38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61602" y="591784"/>
            <a:ext cx="5618069" cy="43019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300" b="1" i="0">
                <a:solidFill>
                  <a:srgbClr val="003162"/>
                </a:solidFill>
                <a:latin typeface="Mont Heavy DEMO" pitchFamily="2" charset="0"/>
              </a:defRPr>
            </a:lvl1pPr>
          </a:lstStyle>
          <a:p>
            <a:pPr lvl="0"/>
            <a:r>
              <a:rPr lang="ru-RU" dirty="0"/>
              <a:t>1.1</a:t>
            </a:r>
            <a:endParaRPr lang="en-US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DD7610B-C9DD-3040-ADFF-C351FA9D8DB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1601" y="1129666"/>
            <a:ext cx="7351247" cy="93580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5100"/>
              </a:lnSpc>
              <a:buNone/>
              <a:defRPr sz="5400" b="1" i="0">
                <a:solidFill>
                  <a:srgbClr val="003162"/>
                </a:solidFill>
                <a:latin typeface="Mont Heavy DEMO" pitchFamily="2" charset="0"/>
              </a:defRPr>
            </a:lvl1pPr>
          </a:lstStyle>
          <a:p>
            <a:pPr lvl="0"/>
            <a:r>
              <a:rPr lang="ru-RU" dirty="0"/>
              <a:t>Наша миссия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453FF13-1923-A14B-AB33-F6D7B27FC2A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1601" y="2173157"/>
            <a:ext cx="8665633" cy="167802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520"/>
              </a:lnSpc>
              <a:spcBef>
                <a:spcPts val="0"/>
              </a:spcBef>
              <a:buNone/>
              <a:defRPr sz="2160" b="1" i="0">
                <a:latin typeface="Mont Bold" panose="00000900000000000000" pitchFamily="50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ru-RU" dirty="0"/>
              <a:t>Мы гордимся тем, что вносим вклад в развитие </a:t>
            </a:r>
          </a:p>
          <a:p>
            <a:pPr lvl="0"/>
            <a:r>
              <a:rPr lang="ru-RU" dirty="0"/>
              <a:t>транспортно-логистического бизнеса России, </a:t>
            </a:r>
          </a:p>
          <a:p>
            <a:pPr lvl="0"/>
            <a:r>
              <a:rPr lang="ru-RU" dirty="0"/>
              <a:t>помогаем людям всесторонне развиваться, </a:t>
            </a:r>
          </a:p>
          <a:p>
            <a:pPr lvl="0"/>
            <a:r>
              <a:rPr lang="ru-RU" dirty="0"/>
              <a:t>открывать для себя новое, находить свой путь </a:t>
            </a:r>
          </a:p>
          <a:p>
            <a:pPr lvl="0"/>
            <a:r>
              <a:rPr lang="ru-RU" dirty="0"/>
              <a:t>и достигать поставленных целей!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8AD59A7E-2899-1C4C-9A7D-01496ACFE7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846854" y="4163266"/>
            <a:ext cx="8665633" cy="1678025"/>
          </a:xfrm>
          <a:prstGeom prst="rect">
            <a:avLst/>
          </a:prstGeom>
        </p:spPr>
        <p:txBody>
          <a:bodyPr/>
          <a:lstStyle>
            <a:lvl1pPr marL="205740" indent="-205740">
              <a:lnSpc>
                <a:spcPts val="2340"/>
              </a:lnSpc>
              <a:spcBef>
                <a:spcPts val="0"/>
              </a:spcBef>
              <a:buSzPct val="80000"/>
              <a:buFontTx/>
              <a:buBlip>
                <a:blip r:embed="rId2"/>
              </a:buBlip>
              <a:defRPr sz="1440" b="1" i="0">
                <a:latin typeface="Mont" pitchFamily="2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ru-RU" dirty="0"/>
              <a:t>Открытость и готовность к изменениям</a:t>
            </a:r>
          </a:p>
          <a:p>
            <a:pPr lvl="0"/>
            <a:r>
              <a:rPr lang="ru-RU" dirty="0"/>
              <a:t>Нам доверяют обучение профессионалов </a:t>
            </a:r>
          </a:p>
          <a:p>
            <a:pPr lvl="0"/>
            <a:r>
              <a:rPr lang="ru-RU" dirty="0"/>
              <a:t>Развитие лидеров нового поколения</a:t>
            </a:r>
          </a:p>
          <a:p>
            <a:pPr lvl="0"/>
            <a:r>
              <a:rPr lang="ru-RU" dirty="0"/>
              <a:t>Использование современных инструментов оценки персонала </a:t>
            </a:r>
          </a:p>
          <a:p>
            <a:pPr lvl="0"/>
            <a:r>
              <a:rPr lang="ru-RU" dirty="0"/>
              <a:t>Создание эффективного бизнес-пространства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8FEAEF9-C9FD-AF48-B80C-465046D0D60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94425" y="674389"/>
            <a:ext cx="3166534" cy="43053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260" b="1" i="0">
                <a:solidFill>
                  <a:srgbClr val="939598"/>
                </a:solidFill>
                <a:latin typeface="Mont Bold" panose="00000900000000000000" pitchFamily="50" charset="0"/>
              </a:defRPr>
            </a:lvl1pPr>
          </a:lstStyle>
          <a:p>
            <a:pPr lvl="0"/>
            <a:r>
              <a:rPr lang="ru-RU" dirty="0"/>
              <a:t>ОБ УНИВЕРСИТЕТЕ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566380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19124" y="363258"/>
            <a:ext cx="10418221" cy="754939"/>
          </a:xfrm>
          <a:prstGeom prst="rect">
            <a:avLst/>
          </a:prstGeom>
        </p:spPr>
        <p:txBody>
          <a:bodyPr/>
          <a:lstStyle>
            <a:lvl1pPr>
              <a:defRPr lang="ru-RU" sz="2880" b="1" i="0" kern="1200" dirty="0">
                <a:solidFill>
                  <a:srgbClr val="003162"/>
                </a:solidFill>
                <a:latin typeface="Mont Bold" panose="00000900000000000000" pitchFamily="50" charset="0"/>
                <a:ea typeface="+mn-ea"/>
                <a:cs typeface="Mont Bold" panose="00000900000000000000" pitchFamily="50" charset="0"/>
              </a:defRPr>
            </a:lvl1pPr>
          </a:lstStyle>
          <a:p>
            <a:r>
              <a:rPr lang="ru-RU" dirty="0"/>
              <a:t>Содержание</a:t>
            </a:r>
          </a:p>
        </p:txBody>
      </p:sp>
      <p:sp>
        <p:nvSpPr>
          <p:cNvPr id="40" name="Текст 39"/>
          <p:cNvSpPr>
            <a:spLocks noGrp="1"/>
          </p:cNvSpPr>
          <p:nvPr>
            <p:ph type="body" sz="quarter" idx="11" hasCustomPrompt="1"/>
          </p:nvPr>
        </p:nvSpPr>
        <p:spPr>
          <a:xfrm>
            <a:off x="932699" y="1955887"/>
            <a:ext cx="1753428" cy="548640"/>
          </a:xfrm>
          <a:prstGeom prst="rect">
            <a:avLst/>
          </a:prstGeom>
        </p:spPr>
        <p:txBody>
          <a:bodyPr/>
          <a:lstStyle>
            <a:lvl1pPr marL="0" marR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80">
                <a:solidFill>
                  <a:srgbClr val="003162"/>
                </a:solidFill>
              </a:defRPr>
            </a:lvl1pPr>
          </a:lstStyle>
          <a:p>
            <a:pPr marL="0" marR="0" lvl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>
                <a:solidFill>
                  <a:srgbClr val="003162"/>
                </a:solidFill>
              </a:rPr>
              <a:t>Название раздела 1</a:t>
            </a:r>
          </a:p>
          <a:p>
            <a:pPr lvl="0"/>
            <a:endParaRPr lang="ru-RU" dirty="0"/>
          </a:p>
        </p:txBody>
      </p:sp>
      <p:sp>
        <p:nvSpPr>
          <p:cNvPr id="43" name="Текст 42"/>
          <p:cNvSpPr>
            <a:spLocks noGrp="1"/>
          </p:cNvSpPr>
          <p:nvPr>
            <p:ph type="body" sz="quarter" idx="13" hasCustomPrompt="1"/>
          </p:nvPr>
        </p:nvSpPr>
        <p:spPr>
          <a:xfrm>
            <a:off x="4466823" y="1954541"/>
            <a:ext cx="2182468" cy="548640"/>
          </a:xfrm>
          <a:prstGeom prst="rect">
            <a:avLst/>
          </a:prstGeom>
        </p:spPr>
        <p:txBody>
          <a:bodyPr/>
          <a:lstStyle>
            <a:lvl1pPr marL="0" marR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80"/>
            </a:lvl1pPr>
          </a:lstStyle>
          <a:p>
            <a:pPr marL="0" marR="0" lvl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>
                <a:solidFill>
                  <a:srgbClr val="003162"/>
                </a:solidFill>
              </a:rPr>
              <a:t>Название раздела 3</a:t>
            </a:r>
          </a:p>
        </p:txBody>
      </p:sp>
      <p:sp>
        <p:nvSpPr>
          <p:cNvPr id="45" name="Текст 44"/>
          <p:cNvSpPr>
            <a:spLocks noGrp="1"/>
          </p:cNvSpPr>
          <p:nvPr>
            <p:ph type="body" sz="quarter" idx="14" hasCustomPrompt="1"/>
          </p:nvPr>
        </p:nvSpPr>
        <p:spPr>
          <a:xfrm>
            <a:off x="8049043" y="1955011"/>
            <a:ext cx="2167854" cy="548640"/>
          </a:xfrm>
          <a:prstGeom prst="rect">
            <a:avLst/>
          </a:prstGeom>
        </p:spPr>
        <p:txBody>
          <a:bodyPr/>
          <a:lstStyle>
            <a:lvl1pPr marL="0" marR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80" baseline="0"/>
            </a:lvl1pPr>
          </a:lstStyle>
          <a:p>
            <a:pPr marL="0" marR="0" lvl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>
                <a:solidFill>
                  <a:srgbClr val="003162"/>
                </a:solidFill>
              </a:rPr>
              <a:t>Название раздела 5</a:t>
            </a:r>
          </a:p>
        </p:txBody>
      </p:sp>
      <p:sp>
        <p:nvSpPr>
          <p:cNvPr id="47" name="Текст 46"/>
          <p:cNvSpPr>
            <a:spLocks noGrp="1"/>
          </p:cNvSpPr>
          <p:nvPr>
            <p:ph type="body" sz="quarter" idx="15" hasCustomPrompt="1"/>
          </p:nvPr>
        </p:nvSpPr>
        <p:spPr>
          <a:xfrm>
            <a:off x="3239588" y="4994910"/>
            <a:ext cx="2185852" cy="548640"/>
          </a:xfrm>
          <a:prstGeom prst="rect">
            <a:avLst/>
          </a:prstGeom>
        </p:spPr>
        <p:txBody>
          <a:bodyPr/>
          <a:lstStyle>
            <a:lvl1pPr marL="0" marR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80" baseline="0"/>
            </a:lvl1pPr>
          </a:lstStyle>
          <a:p>
            <a:pPr marL="0" marR="0" lvl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>
                <a:solidFill>
                  <a:srgbClr val="003162"/>
                </a:solidFill>
              </a:rPr>
              <a:t>Название раздела 2</a:t>
            </a:r>
          </a:p>
        </p:txBody>
      </p:sp>
      <p:sp>
        <p:nvSpPr>
          <p:cNvPr id="49" name="Текст 48"/>
          <p:cNvSpPr>
            <a:spLocks noGrp="1"/>
          </p:cNvSpPr>
          <p:nvPr>
            <p:ph type="body" sz="quarter" idx="16" hasCustomPrompt="1"/>
          </p:nvPr>
        </p:nvSpPr>
        <p:spPr>
          <a:xfrm>
            <a:off x="7700094" y="4988516"/>
            <a:ext cx="2187619" cy="548640"/>
          </a:xfrm>
          <a:prstGeom prst="rect">
            <a:avLst/>
          </a:prstGeom>
        </p:spPr>
        <p:txBody>
          <a:bodyPr/>
          <a:lstStyle>
            <a:lvl1pPr marL="0" marR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80" baseline="0"/>
            </a:lvl1pPr>
          </a:lstStyle>
          <a:p>
            <a:pPr marL="0" marR="0" lvl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>
                <a:solidFill>
                  <a:srgbClr val="003162"/>
                </a:solidFill>
              </a:rPr>
              <a:t>Название раздела 4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7" hasCustomPrompt="1"/>
          </p:nvPr>
        </p:nvSpPr>
        <p:spPr>
          <a:xfrm>
            <a:off x="560105" y="1955887"/>
            <a:ext cx="355117" cy="548640"/>
          </a:xfrm>
          <a:prstGeom prst="rect">
            <a:avLst/>
          </a:prstGeom>
        </p:spPr>
        <p:txBody>
          <a:bodyPr/>
          <a:lstStyle>
            <a:lvl1pPr marL="0" marR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920"/>
            </a:lvl1pPr>
          </a:lstStyle>
          <a:p>
            <a:pPr marL="0" marR="0" lvl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4320" b="1" dirty="0">
                <a:solidFill>
                  <a:srgbClr val="003162"/>
                </a:solidFill>
              </a:rPr>
              <a:t>1</a:t>
            </a:r>
          </a:p>
          <a:p>
            <a:pPr lvl="0"/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8" hasCustomPrompt="1"/>
          </p:nvPr>
        </p:nvSpPr>
        <p:spPr>
          <a:xfrm>
            <a:off x="4024390" y="1944209"/>
            <a:ext cx="429619" cy="548640"/>
          </a:xfrm>
          <a:prstGeom prst="rect">
            <a:avLst/>
          </a:prstGeom>
        </p:spPr>
        <p:txBody>
          <a:bodyPr/>
          <a:lstStyle>
            <a:lvl1pPr marL="0" marR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920"/>
            </a:lvl1pPr>
          </a:lstStyle>
          <a:p>
            <a:pPr marL="0" marR="0" lvl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4320" b="1" dirty="0">
                <a:solidFill>
                  <a:srgbClr val="003162"/>
                </a:solidFill>
              </a:rPr>
              <a:t>3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9" hasCustomPrompt="1"/>
          </p:nvPr>
        </p:nvSpPr>
        <p:spPr>
          <a:xfrm>
            <a:off x="7634507" y="1955722"/>
            <a:ext cx="405765" cy="548640"/>
          </a:xfrm>
          <a:prstGeom prst="rect">
            <a:avLst/>
          </a:prstGeom>
        </p:spPr>
        <p:txBody>
          <a:bodyPr/>
          <a:lstStyle>
            <a:lvl1pPr marL="0" marR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920"/>
            </a:lvl1pPr>
          </a:lstStyle>
          <a:p>
            <a:pPr marL="0" marR="0" lvl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4320" b="1" dirty="0">
                <a:solidFill>
                  <a:srgbClr val="003162"/>
                </a:solidFill>
              </a:rPr>
              <a:t>5</a:t>
            </a:r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20" hasCustomPrompt="1"/>
          </p:nvPr>
        </p:nvSpPr>
        <p:spPr>
          <a:xfrm>
            <a:off x="2825792" y="4993720"/>
            <a:ext cx="413797" cy="548640"/>
          </a:xfrm>
          <a:prstGeom prst="rect">
            <a:avLst/>
          </a:prstGeom>
        </p:spPr>
        <p:txBody>
          <a:bodyPr/>
          <a:lstStyle>
            <a:lvl1pPr marL="0" marR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920"/>
            </a:lvl1pPr>
          </a:lstStyle>
          <a:p>
            <a:pPr marL="0" marR="0" lvl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4320" b="1" dirty="0">
                <a:solidFill>
                  <a:srgbClr val="003162"/>
                </a:solidFill>
              </a:rPr>
              <a:t>2</a:t>
            </a:r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21" hasCustomPrompt="1"/>
          </p:nvPr>
        </p:nvSpPr>
        <p:spPr>
          <a:xfrm>
            <a:off x="7223180" y="4988516"/>
            <a:ext cx="435181" cy="548640"/>
          </a:xfrm>
          <a:prstGeom prst="rect">
            <a:avLst/>
          </a:prstGeom>
        </p:spPr>
        <p:txBody>
          <a:bodyPr/>
          <a:lstStyle>
            <a:lvl1pPr marL="0" marR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920"/>
            </a:lvl1pPr>
          </a:lstStyle>
          <a:p>
            <a:pPr marL="0" marR="0" lvl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4320" b="1" dirty="0">
                <a:solidFill>
                  <a:srgbClr val="003162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098601338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5823">
          <p15:clr>
            <a:srgbClr val="FBAE40"/>
          </p15:clr>
        </p15:guide>
        <p15:guide id="2" pos="39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C133F4E-8DA1-7249-BC24-FAC35477AAA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0863" y="591784"/>
            <a:ext cx="6625348" cy="5190882"/>
          </a:xfrm>
          <a:prstGeom prst="rect">
            <a:avLst/>
          </a:prstGeom>
        </p:spPr>
        <p:txBody>
          <a:bodyPr/>
          <a:lstStyle>
            <a:lvl1pPr marL="0" marR="0" indent="0" algn="l" defTabSz="91439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80" b="1" i="0">
                <a:solidFill>
                  <a:srgbClr val="003162"/>
                </a:solidFill>
                <a:latin typeface="Mont Bold" panose="00000900000000000000" pitchFamily="50" charset="0"/>
                <a:cs typeface="Mont Bold" panose="00000900000000000000" pitchFamily="50" charset="0"/>
              </a:defRPr>
            </a:lvl1pPr>
          </a:lstStyle>
          <a:p>
            <a:pPr marL="0" marR="0" lvl="0" indent="0" algn="l" defTabSz="91439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НАЗВАНИЕ РАЗДЕЛА 1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9635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00">
          <p15:clr>
            <a:srgbClr val="FBAE40"/>
          </p15:clr>
        </p15:guide>
        <p15:guide id="2" pos="347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9471377" cy="1143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457200"/>
            <a:fld id="{83851621-31DB-4FD1-936E-C610EF92EA3D}" type="datetimeFigureOut">
              <a:rPr lang="ru-RU" smtClean="0">
                <a:solidFill>
                  <a:prstClr val="black"/>
                </a:solidFill>
              </a:rPr>
              <a:pPr defTabSz="457200"/>
              <a:t>08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9600" y="6356351"/>
            <a:ext cx="10972800" cy="365125"/>
          </a:xfrm>
          <a:prstGeom prst="rect">
            <a:avLst/>
          </a:prstGeom>
        </p:spPr>
        <p:txBody>
          <a:bodyPr/>
          <a:lstStyle/>
          <a:p>
            <a:pPr defTabSz="457200"/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374490" y="274638"/>
            <a:ext cx="1207909" cy="405412"/>
          </a:xfrm>
          <a:prstGeom prst="rect">
            <a:avLst/>
          </a:prstGeom>
        </p:spPr>
        <p:txBody>
          <a:bodyPr/>
          <a:lstStyle/>
          <a:p>
            <a:pPr defTabSz="457200"/>
            <a:fld id="{B45469A0-E805-44F8-B793-A14A0E565B05}" type="slidenum">
              <a:rPr lang="ru-RU" smtClean="0">
                <a:solidFill>
                  <a:prstClr val="black"/>
                </a:solidFill>
              </a:rPr>
              <a:pPr defTabSz="457200"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926530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19124" y="353098"/>
            <a:ext cx="10418221" cy="754939"/>
          </a:xfrm>
          <a:prstGeom prst="rect">
            <a:avLst/>
          </a:prstGeom>
        </p:spPr>
        <p:txBody>
          <a:bodyPr/>
          <a:lstStyle>
            <a:lvl1pPr>
              <a:defRPr lang="ru-RU" sz="3000" b="1" i="0" kern="1200" baseline="0" dirty="0">
                <a:solidFill>
                  <a:srgbClr val="003162"/>
                </a:solidFill>
                <a:latin typeface="Mont Bold" panose="00000900000000000000" pitchFamily="50" charset="0"/>
                <a:ea typeface="+mn-ea"/>
                <a:cs typeface="Mont Bold" panose="00000900000000000000" pitchFamily="50" charset="0"/>
              </a:defRPr>
            </a:lvl1pPr>
          </a:lstStyle>
          <a:p>
            <a:r>
              <a:rPr lang="ru-RU" dirty="0"/>
              <a:t>Название подраздела 1.1 (при наличии подразделов)</a:t>
            </a:r>
          </a:p>
        </p:txBody>
      </p:sp>
      <p:sp>
        <p:nvSpPr>
          <p:cNvPr id="19" name="Объект 18"/>
          <p:cNvSpPr>
            <a:spLocks noGrp="1"/>
          </p:cNvSpPr>
          <p:nvPr>
            <p:ph sz="quarter" idx="10" hasCustomPrompt="1"/>
          </p:nvPr>
        </p:nvSpPr>
        <p:spPr>
          <a:xfrm>
            <a:off x="4550485" y="1323023"/>
            <a:ext cx="7186220" cy="473392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14000"/>
              </a:lnSpc>
              <a:spcBef>
                <a:spcPts val="0"/>
              </a:spcBef>
              <a:buNone/>
              <a:defRPr sz="1800">
                <a:solidFill>
                  <a:srgbClr val="003162"/>
                </a:solidFill>
              </a:defRPr>
            </a:lvl1pPr>
          </a:lstStyle>
          <a:p>
            <a:pPr lvl="0"/>
            <a:r>
              <a:rPr lang="ru-RU" dirty="0"/>
              <a:t>Поезд «Сапсан» или «</a:t>
            </a:r>
            <a:r>
              <a:rPr lang="ru-RU" dirty="0" err="1"/>
              <a:t>Velaro</a:t>
            </a:r>
            <a:r>
              <a:rPr lang="ru-RU" dirty="0"/>
              <a:t> </a:t>
            </a:r>
            <a:r>
              <a:rPr lang="ru-RU" dirty="0" err="1"/>
              <a:t>Rus</a:t>
            </a:r>
            <a:r>
              <a:rPr lang="ru-RU" dirty="0"/>
              <a:t>» — разработка немецкого машиностроительного концерна «Siemens».</a:t>
            </a:r>
            <a:br>
              <a:rPr lang="ru-RU" dirty="0"/>
            </a:br>
            <a:br>
              <a:rPr lang="ru-RU" dirty="0"/>
            </a:br>
            <a:r>
              <a:rPr lang="ru-RU" dirty="0"/>
              <a:t>«Сапсан», построенный для ОАО «РЖД», способен развивать скорость до 350 км./ч., однако на российских железных дорогах его скорость ограничена до 250 км./ч. Несмотря на это, поезд преодолевает расстояние между Москвой и Санкт-Петербургом за рекордное время – 3 часа 45 минут!</a:t>
            </a:r>
          </a:p>
          <a:p>
            <a:pPr lvl="0"/>
            <a:endParaRPr lang="ru-RU" dirty="0"/>
          </a:p>
        </p:txBody>
      </p:sp>
      <p:sp>
        <p:nvSpPr>
          <p:cNvPr id="22" name="Текст 21"/>
          <p:cNvSpPr>
            <a:spLocks noGrp="1"/>
          </p:cNvSpPr>
          <p:nvPr>
            <p:ph type="body" sz="quarter" idx="11" hasCustomPrompt="1"/>
          </p:nvPr>
        </p:nvSpPr>
        <p:spPr>
          <a:xfrm>
            <a:off x="321946" y="5002694"/>
            <a:ext cx="4002629" cy="1043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ru-RU" sz="144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Mont Light" panose="00000500000000000000" pitchFamily="50" charset="0"/>
                <a:ea typeface="+mn-ea"/>
                <a:cs typeface="+mn-cs"/>
              </a:defRPr>
            </a:lvl1pPr>
          </a:lstStyle>
          <a:p>
            <a:pPr>
              <a:lnSpc>
                <a:spcPct val="114000"/>
              </a:lnSpc>
            </a:pPr>
            <a:r>
              <a:rPr lang="ru-RU" sz="600" dirty="0">
                <a:latin typeface="Verdana" pitchFamily="34" charset="0"/>
              </a:rPr>
              <a:t>Сапсан </a:t>
            </a:r>
            <a:r>
              <a:rPr lang="en-US" sz="600" dirty="0">
                <a:latin typeface="Verdana" pitchFamily="34" charset="0"/>
              </a:rPr>
              <a:t>–</a:t>
            </a:r>
            <a:r>
              <a:rPr lang="ru-RU" sz="600" dirty="0">
                <a:latin typeface="Verdana" pitchFamily="34" charset="0"/>
              </a:rPr>
              <a:t> это самая быстрая птица в мире —      по оценкам специалистов, в нападении она способна развивать скорость свыше 322 км/ч.</a:t>
            </a:r>
            <a:endParaRPr lang="ru-RU" sz="600" dirty="0">
              <a:solidFill>
                <a:srgbClr val="FF0000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05231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00">
          <p15:clr>
            <a:srgbClr val="FBAE40"/>
          </p15:clr>
        </p15:guide>
        <p15:guide id="2" pos="39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3622231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876942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823">
          <p15:clr>
            <a:srgbClr val="FBAE40"/>
          </p15:clr>
        </p15:guide>
        <p15:guide id="2" pos="39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1717913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02466E5-C2DA-1248-93EB-E9373543C38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61602" y="591784"/>
            <a:ext cx="5618069" cy="43019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300" b="1" i="0">
                <a:solidFill>
                  <a:srgbClr val="003162"/>
                </a:solidFill>
                <a:latin typeface="Mont Heavy DEMO" pitchFamily="2" charset="0"/>
              </a:defRPr>
            </a:lvl1pPr>
          </a:lstStyle>
          <a:p>
            <a:pPr lvl="0"/>
            <a:r>
              <a:rPr lang="ru-RU" dirty="0"/>
              <a:t>1.1</a:t>
            </a:r>
            <a:endParaRPr lang="en-US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DD7610B-C9DD-3040-ADFF-C351FA9D8DB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1601" y="1129666"/>
            <a:ext cx="7351247" cy="93580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5100"/>
              </a:lnSpc>
              <a:buNone/>
              <a:defRPr sz="5400" b="1" i="0">
                <a:solidFill>
                  <a:srgbClr val="003162"/>
                </a:solidFill>
                <a:latin typeface="Mont Heavy DEMO" pitchFamily="2" charset="0"/>
              </a:defRPr>
            </a:lvl1pPr>
          </a:lstStyle>
          <a:p>
            <a:pPr lvl="0"/>
            <a:r>
              <a:rPr lang="ru-RU" dirty="0"/>
              <a:t>Наша миссия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453FF13-1923-A14B-AB33-F6D7B27FC2A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1601" y="2173157"/>
            <a:ext cx="8665633" cy="167802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520"/>
              </a:lnSpc>
              <a:spcBef>
                <a:spcPts val="0"/>
              </a:spcBef>
              <a:buNone/>
              <a:defRPr sz="2160" b="1" i="0">
                <a:latin typeface="Mont Bold" panose="00000900000000000000" pitchFamily="50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ru-RU" dirty="0"/>
              <a:t>Мы гордимся тем, что вносим вклад в развитие </a:t>
            </a:r>
          </a:p>
          <a:p>
            <a:pPr lvl="0"/>
            <a:r>
              <a:rPr lang="ru-RU" dirty="0"/>
              <a:t>транспортно-логистического бизнеса России, </a:t>
            </a:r>
          </a:p>
          <a:p>
            <a:pPr lvl="0"/>
            <a:r>
              <a:rPr lang="ru-RU" dirty="0"/>
              <a:t>помогаем людям всесторонне развиваться, </a:t>
            </a:r>
          </a:p>
          <a:p>
            <a:pPr lvl="0"/>
            <a:r>
              <a:rPr lang="ru-RU" dirty="0"/>
              <a:t>открывать для себя новое, находить свой путь </a:t>
            </a:r>
          </a:p>
          <a:p>
            <a:pPr lvl="0"/>
            <a:r>
              <a:rPr lang="ru-RU" dirty="0"/>
              <a:t>и достигать поставленных целей!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8AD59A7E-2899-1C4C-9A7D-01496ACFE7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846854" y="4163266"/>
            <a:ext cx="8665633" cy="1678025"/>
          </a:xfrm>
          <a:prstGeom prst="rect">
            <a:avLst/>
          </a:prstGeom>
        </p:spPr>
        <p:txBody>
          <a:bodyPr/>
          <a:lstStyle>
            <a:lvl1pPr marL="205740" indent="-205740">
              <a:lnSpc>
                <a:spcPts val="2340"/>
              </a:lnSpc>
              <a:spcBef>
                <a:spcPts val="0"/>
              </a:spcBef>
              <a:buSzPct val="80000"/>
              <a:buFontTx/>
              <a:buBlip>
                <a:blip r:embed="rId2"/>
              </a:buBlip>
              <a:defRPr sz="1440" b="1" i="0">
                <a:latin typeface="Mont" pitchFamily="2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ru-RU" dirty="0"/>
              <a:t>Открытость и готовность к изменениям</a:t>
            </a:r>
          </a:p>
          <a:p>
            <a:pPr lvl="0"/>
            <a:r>
              <a:rPr lang="ru-RU" dirty="0"/>
              <a:t>Нам доверяют обучение профессионалов </a:t>
            </a:r>
          </a:p>
          <a:p>
            <a:pPr lvl="0"/>
            <a:r>
              <a:rPr lang="ru-RU" dirty="0"/>
              <a:t>Развитие лидеров нового поколения</a:t>
            </a:r>
          </a:p>
          <a:p>
            <a:pPr lvl="0"/>
            <a:r>
              <a:rPr lang="ru-RU" dirty="0"/>
              <a:t>Использование современных инструментов оценки персонала </a:t>
            </a:r>
          </a:p>
          <a:p>
            <a:pPr lvl="0"/>
            <a:r>
              <a:rPr lang="ru-RU" dirty="0"/>
              <a:t>Создание эффективного бизнес-пространства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8FEAEF9-C9FD-AF48-B80C-465046D0D60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94425" y="674389"/>
            <a:ext cx="3166534" cy="43053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260" b="1" i="0">
                <a:solidFill>
                  <a:srgbClr val="939598"/>
                </a:solidFill>
                <a:latin typeface="Mont Bold" panose="00000900000000000000" pitchFamily="50" charset="0"/>
              </a:defRPr>
            </a:lvl1pPr>
          </a:lstStyle>
          <a:p>
            <a:pPr lvl="0"/>
            <a:r>
              <a:rPr lang="ru-RU" dirty="0"/>
              <a:t>ОБ УНИВЕРСИТЕТЕ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049209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21946" y="353098"/>
            <a:ext cx="10715400" cy="754939"/>
          </a:xfrm>
          <a:prstGeom prst="rect">
            <a:avLst/>
          </a:prstGeom>
        </p:spPr>
        <p:txBody>
          <a:bodyPr/>
          <a:lstStyle>
            <a:lvl1pPr>
              <a:defRPr lang="ru-RU" sz="2880" b="1" i="0" kern="1200" dirty="0">
                <a:solidFill>
                  <a:srgbClr val="003162"/>
                </a:solidFill>
                <a:latin typeface="Mont Bold" panose="00000900000000000000" pitchFamily="50" charset="0"/>
                <a:ea typeface="+mn-ea"/>
                <a:cs typeface="Mont Bold" panose="00000900000000000000" pitchFamily="50" charset="0"/>
              </a:defRPr>
            </a:lvl1pPr>
          </a:lstStyle>
          <a:p>
            <a:r>
              <a:rPr lang="ru-RU" dirty="0"/>
              <a:t>Содержание</a:t>
            </a:r>
          </a:p>
        </p:txBody>
      </p:sp>
      <p:sp>
        <p:nvSpPr>
          <p:cNvPr id="40" name="Текст 39"/>
          <p:cNvSpPr>
            <a:spLocks noGrp="1"/>
          </p:cNvSpPr>
          <p:nvPr>
            <p:ph type="body" sz="quarter" idx="11" hasCustomPrompt="1"/>
          </p:nvPr>
        </p:nvSpPr>
        <p:spPr>
          <a:xfrm>
            <a:off x="932699" y="1955887"/>
            <a:ext cx="1753428" cy="548640"/>
          </a:xfrm>
          <a:prstGeom prst="rect">
            <a:avLst/>
          </a:prstGeom>
        </p:spPr>
        <p:txBody>
          <a:bodyPr/>
          <a:lstStyle>
            <a:lvl1pPr marL="0" marR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80">
                <a:solidFill>
                  <a:srgbClr val="003162"/>
                </a:solidFill>
              </a:defRPr>
            </a:lvl1pPr>
          </a:lstStyle>
          <a:p>
            <a:pPr marL="0" marR="0" lvl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>
                <a:solidFill>
                  <a:srgbClr val="003162"/>
                </a:solidFill>
              </a:rPr>
              <a:t>Название раздела 1</a:t>
            </a:r>
          </a:p>
          <a:p>
            <a:pPr lvl="0"/>
            <a:endParaRPr lang="ru-RU" dirty="0"/>
          </a:p>
        </p:txBody>
      </p:sp>
      <p:sp>
        <p:nvSpPr>
          <p:cNvPr id="43" name="Текст 42"/>
          <p:cNvSpPr>
            <a:spLocks noGrp="1"/>
          </p:cNvSpPr>
          <p:nvPr>
            <p:ph type="body" sz="quarter" idx="13" hasCustomPrompt="1"/>
          </p:nvPr>
        </p:nvSpPr>
        <p:spPr>
          <a:xfrm>
            <a:off x="4466823" y="1954541"/>
            <a:ext cx="2182468" cy="548640"/>
          </a:xfrm>
          <a:prstGeom prst="rect">
            <a:avLst/>
          </a:prstGeom>
        </p:spPr>
        <p:txBody>
          <a:bodyPr/>
          <a:lstStyle>
            <a:lvl1pPr marL="0" marR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80"/>
            </a:lvl1pPr>
          </a:lstStyle>
          <a:p>
            <a:pPr marL="0" marR="0" lvl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>
                <a:solidFill>
                  <a:srgbClr val="003162"/>
                </a:solidFill>
              </a:rPr>
              <a:t>Название раздела 3</a:t>
            </a:r>
          </a:p>
        </p:txBody>
      </p:sp>
      <p:sp>
        <p:nvSpPr>
          <p:cNvPr id="45" name="Текст 44"/>
          <p:cNvSpPr>
            <a:spLocks noGrp="1"/>
          </p:cNvSpPr>
          <p:nvPr>
            <p:ph type="body" sz="quarter" idx="14" hasCustomPrompt="1"/>
          </p:nvPr>
        </p:nvSpPr>
        <p:spPr>
          <a:xfrm>
            <a:off x="8049043" y="1955011"/>
            <a:ext cx="2167854" cy="548640"/>
          </a:xfrm>
          <a:prstGeom prst="rect">
            <a:avLst/>
          </a:prstGeom>
        </p:spPr>
        <p:txBody>
          <a:bodyPr/>
          <a:lstStyle>
            <a:lvl1pPr marL="0" marR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80" baseline="0"/>
            </a:lvl1pPr>
          </a:lstStyle>
          <a:p>
            <a:pPr marL="0" marR="0" lvl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>
                <a:solidFill>
                  <a:srgbClr val="003162"/>
                </a:solidFill>
              </a:rPr>
              <a:t>Название раздела 5</a:t>
            </a:r>
          </a:p>
        </p:txBody>
      </p:sp>
      <p:sp>
        <p:nvSpPr>
          <p:cNvPr id="47" name="Текст 46"/>
          <p:cNvSpPr>
            <a:spLocks noGrp="1"/>
          </p:cNvSpPr>
          <p:nvPr>
            <p:ph type="body" sz="quarter" idx="15" hasCustomPrompt="1"/>
          </p:nvPr>
        </p:nvSpPr>
        <p:spPr>
          <a:xfrm>
            <a:off x="3239588" y="4994910"/>
            <a:ext cx="2185852" cy="548640"/>
          </a:xfrm>
          <a:prstGeom prst="rect">
            <a:avLst/>
          </a:prstGeom>
        </p:spPr>
        <p:txBody>
          <a:bodyPr/>
          <a:lstStyle>
            <a:lvl1pPr marL="0" marR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80" baseline="0"/>
            </a:lvl1pPr>
          </a:lstStyle>
          <a:p>
            <a:pPr marL="0" marR="0" lvl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>
                <a:solidFill>
                  <a:srgbClr val="003162"/>
                </a:solidFill>
              </a:rPr>
              <a:t>Название раздела 2</a:t>
            </a:r>
          </a:p>
        </p:txBody>
      </p:sp>
      <p:sp>
        <p:nvSpPr>
          <p:cNvPr id="49" name="Текст 48"/>
          <p:cNvSpPr>
            <a:spLocks noGrp="1"/>
          </p:cNvSpPr>
          <p:nvPr>
            <p:ph type="body" sz="quarter" idx="16" hasCustomPrompt="1"/>
          </p:nvPr>
        </p:nvSpPr>
        <p:spPr>
          <a:xfrm>
            <a:off x="7700094" y="4988516"/>
            <a:ext cx="2187619" cy="548640"/>
          </a:xfrm>
          <a:prstGeom prst="rect">
            <a:avLst/>
          </a:prstGeom>
        </p:spPr>
        <p:txBody>
          <a:bodyPr/>
          <a:lstStyle>
            <a:lvl1pPr marL="0" marR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80" baseline="0"/>
            </a:lvl1pPr>
          </a:lstStyle>
          <a:p>
            <a:pPr marL="0" marR="0" lvl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>
                <a:solidFill>
                  <a:srgbClr val="003162"/>
                </a:solidFill>
              </a:rPr>
              <a:t>Название раздела 4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7" hasCustomPrompt="1"/>
          </p:nvPr>
        </p:nvSpPr>
        <p:spPr>
          <a:xfrm>
            <a:off x="560105" y="1955887"/>
            <a:ext cx="355117" cy="548640"/>
          </a:xfrm>
          <a:prstGeom prst="rect">
            <a:avLst/>
          </a:prstGeom>
        </p:spPr>
        <p:txBody>
          <a:bodyPr/>
          <a:lstStyle>
            <a:lvl1pPr marL="0" marR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920"/>
            </a:lvl1pPr>
          </a:lstStyle>
          <a:p>
            <a:pPr marL="0" marR="0" lvl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4320" b="1" dirty="0">
                <a:solidFill>
                  <a:srgbClr val="003162"/>
                </a:solidFill>
              </a:rPr>
              <a:t>1</a:t>
            </a:r>
          </a:p>
          <a:p>
            <a:pPr lvl="0"/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8" hasCustomPrompt="1"/>
          </p:nvPr>
        </p:nvSpPr>
        <p:spPr>
          <a:xfrm>
            <a:off x="4024390" y="1944209"/>
            <a:ext cx="429619" cy="548640"/>
          </a:xfrm>
          <a:prstGeom prst="rect">
            <a:avLst/>
          </a:prstGeom>
        </p:spPr>
        <p:txBody>
          <a:bodyPr/>
          <a:lstStyle>
            <a:lvl1pPr marL="0" marR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920"/>
            </a:lvl1pPr>
          </a:lstStyle>
          <a:p>
            <a:pPr marL="0" marR="0" lvl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4320" b="1" dirty="0">
                <a:solidFill>
                  <a:srgbClr val="003162"/>
                </a:solidFill>
              </a:rPr>
              <a:t>3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9" hasCustomPrompt="1"/>
          </p:nvPr>
        </p:nvSpPr>
        <p:spPr>
          <a:xfrm>
            <a:off x="7634507" y="1955722"/>
            <a:ext cx="405765" cy="548640"/>
          </a:xfrm>
          <a:prstGeom prst="rect">
            <a:avLst/>
          </a:prstGeom>
        </p:spPr>
        <p:txBody>
          <a:bodyPr/>
          <a:lstStyle>
            <a:lvl1pPr marL="0" marR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920"/>
            </a:lvl1pPr>
          </a:lstStyle>
          <a:p>
            <a:pPr marL="0" marR="0" lvl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4320" b="1" dirty="0">
                <a:solidFill>
                  <a:srgbClr val="003162"/>
                </a:solidFill>
              </a:rPr>
              <a:t>5</a:t>
            </a:r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20" hasCustomPrompt="1"/>
          </p:nvPr>
        </p:nvSpPr>
        <p:spPr>
          <a:xfrm>
            <a:off x="2825792" y="4993720"/>
            <a:ext cx="413797" cy="548640"/>
          </a:xfrm>
          <a:prstGeom prst="rect">
            <a:avLst/>
          </a:prstGeom>
        </p:spPr>
        <p:txBody>
          <a:bodyPr/>
          <a:lstStyle>
            <a:lvl1pPr marL="0" marR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920"/>
            </a:lvl1pPr>
          </a:lstStyle>
          <a:p>
            <a:pPr marL="0" marR="0" lvl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4320" b="1" dirty="0">
                <a:solidFill>
                  <a:srgbClr val="003162"/>
                </a:solidFill>
              </a:rPr>
              <a:t>2</a:t>
            </a:r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21" hasCustomPrompt="1"/>
          </p:nvPr>
        </p:nvSpPr>
        <p:spPr>
          <a:xfrm>
            <a:off x="7223180" y="4988516"/>
            <a:ext cx="435181" cy="548640"/>
          </a:xfrm>
          <a:prstGeom prst="rect">
            <a:avLst/>
          </a:prstGeom>
        </p:spPr>
        <p:txBody>
          <a:bodyPr/>
          <a:lstStyle>
            <a:lvl1pPr marL="0" marR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920"/>
            </a:lvl1pPr>
          </a:lstStyle>
          <a:p>
            <a:pPr marL="0" marR="0" lvl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4320" b="1" dirty="0">
                <a:solidFill>
                  <a:srgbClr val="003162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894781762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5823">
          <p15:clr>
            <a:srgbClr val="FBAE40"/>
          </p15:clr>
        </p15:guide>
        <p15:guide id="2" pos="39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C133F4E-8DA1-7249-BC24-FAC35477AAA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9125" y="591784"/>
            <a:ext cx="6557086" cy="5190882"/>
          </a:xfrm>
          <a:prstGeom prst="rect">
            <a:avLst/>
          </a:prstGeom>
        </p:spPr>
        <p:txBody>
          <a:bodyPr/>
          <a:lstStyle>
            <a:lvl1pPr marL="0" marR="0" indent="0" algn="l" defTabSz="91439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80" b="1" i="0">
                <a:solidFill>
                  <a:srgbClr val="003162"/>
                </a:solidFill>
                <a:latin typeface="Mont Bold" panose="00000900000000000000" pitchFamily="50" charset="0"/>
                <a:cs typeface="Mont Bold" panose="00000900000000000000" pitchFamily="50" charset="0"/>
              </a:defRPr>
            </a:lvl1pPr>
          </a:lstStyle>
          <a:p>
            <a:pPr marL="0" marR="0" lvl="0" indent="0" algn="l" defTabSz="91439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НАЗВАНИЕ РАЗДЕЛА 1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06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00">
          <p15:clr>
            <a:srgbClr val="FBAE40"/>
          </p15:clr>
        </p15:guide>
        <p15:guide id="2" pos="39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19124" y="353098"/>
            <a:ext cx="10418221" cy="754939"/>
          </a:xfrm>
          <a:prstGeom prst="rect">
            <a:avLst/>
          </a:prstGeom>
        </p:spPr>
        <p:txBody>
          <a:bodyPr/>
          <a:lstStyle>
            <a:lvl1pPr>
              <a:defRPr lang="ru-RU" sz="3000" b="1" i="0" kern="1200" baseline="0" dirty="0">
                <a:solidFill>
                  <a:srgbClr val="003162"/>
                </a:solidFill>
                <a:latin typeface="Mont Bold" panose="00000900000000000000" pitchFamily="50" charset="0"/>
                <a:ea typeface="+mn-ea"/>
                <a:cs typeface="Mont Bold" panose="00000900000000000000" pitchFamily="50" charset="0"/>
              </a:defRPr>
            </a:lvl1pPr>
          </a:lstStyle>
          <a:p>
            <a:r>
              <a:rPr lang="ru-RU" dirty="0"/>
              <a:t>Название подраздела 1.1 (при наличии подразделов)</a:t>
            </a:r>
          </a:p>
        </p:txBody>
      </p:sp>
      <p:sp>
        <p:nvSpPr>
          <p:cNvPr id="19" name="Объект 18"/>
          <p:cNvSpPr>
            <a:spLocks noGrp="1"/>
          </p:cNvSpPr>
          <p:nvPr>
            <p:ph sz="quarter" idx="10" hasCustomPrompt="1"/>
          </p:nvPr>
        </p:nvSpPr>
        <p:spPr>
          <a:xfrm>
            <a:off x="4550485" y="1323023"/>
            <a:ext cx="7186220" cy="473392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14000"/>
              </a:lnSpc>
              <a:spcBef>
                <a:spcPts val="0"/>
              </a:spcBef>
              <a:buNone/>
              <a:defRPr sz="1800">
                <a:solidFill>
                  <a:srgbClr val="003162"/>
                </a:solidFill>
              </a:defRPr>
            </a:lvl1pPr>
          </a:lstStyle>
          <a:p>
            <a:pPr lvl="0"/>
            <a:r>
              <a:rPr lang="ru-RU" dirty="0"/>
              <a:t>Поезд «Сапсан» или «</a:t>
            </a:r>
            <a:r>
              <a:rPr lang="ru-RU" dirty="0" err="1"/>
              <a:t>Velaro</a:t>
            </a:r>
            <a:r>
              <a:rPr lang="ru-RU" dirty="0"/>
              <a:t> </a:t>
            </a:r>
            <a:r>
              <a:rPr lang="ru-RU" dirty="0" err="1"/>
              <a:t>Rus</a:t>
            </a:r>
            <a:r>
              <a:rPr lang="ru-RU" dirty="0"/>
              <a:t>» — разработка немецкого машиностроительного концерна «Siemens».</a:t>
            </a:r>
            <a:br>
              <a:rPr lang="ru-RU" dirty="0"/>
            </a:br>
            <a:br>
              <a:rPr lang="ru-RU" dirty="0"/>
            </a:br>
            <a:r>
              <a:rPr lang="ru-RU" dirty="0"/>
              <a:t>«Сапсан», построенный для ОАО «РЖД», способен развивать скорость до 350 км./ч., однако на российских железных дорогах его скорость ограничена до 250 км./ч. Несмотря на это, поезд преодолевает расстояние между Москвой и Санкт-Петербургом за рекордное время – 3 часа 45 минут!</a:t>
            </a:r>
          </a:p>
          <a:p>
            <a:pPr lvl="0"/>
            <a:endParaRPr lang="ru-RU" dirty="0"/>
          </a:p>
        </p:txBody>
      </p:sp>
      <p:sp>
        <p:nvSpPr>
          <p:cNvPr id="22" name="Текст 21"/>
          <p:cNvSpPr>
            <a:spLocks noGrp="1"/>
          </p:cNvSpPr>
          <p:nvPr>
            <p:ph type="body" sz="quarter" idx="11" hasCustomPrompt="1"/>
          </p:nvPr>
        </p:nvSpPr>
        <p:spPr>
          <a:xfrm>
            <a:off x="321946" y="5002694"/>
            <a:ext cx="4002629" cy="1043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ru-RU" sz="144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Mont Light" panose="00000500000000000000" pitchFamily="50" charset="0"/>
                <a:ea typeface="+mn-ea"/>
                <a:cs typeface="+mn-cs"/>
              </a:defRPr>
            </a:lvl1pPr>
          </a:lstStyle>
          <a:p>
            <a:pPr>
              <a:lnSpc>
                <a:spcPct val="114000"/>
              </a:lnSpc>
            </a:pPr>
            <a:r>
              <a:rPr lang="ru-RU" sz="600" dirty="0">
                <a:latin typeface="Verdana" pitchFamily="34" charset="0"/>
              </a:rPr>
              <a:t>Сапсан </a:t>
            </a:r>
            <a:r>
              <a:rPr lang="en-US" sz="600" dirty="0">
                <a:latin typeface="Verdana" pitchFamily="34" charset="0"/>
              </a:rPr>
              <a:t>–</a:t>
            </a:r>
            <a:r>
              <a:rPr lang="ru-RU" sz="600" dirty="0">
                <a:latin typeface="Verdana" pitchFamily="34" charset="0"/>
              </a:rPr>
              <a:t> это самая быстрая птица в мире —      по оценкам специалистов, в нападении она способна развивать скорость свыше 322 км/ч.</a:t>
            </a:r>
            <a:endParaRPr lang="ru-RU" sz="600" dirty="0">
              <a:solidFill>
                <a:srgbClr val="FF0000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09677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00">
          <p15:clr>
            <a:srgbClr val="FBAE40"/>
          </p15:clr>
        </p15:guide>
        <p15:guide id="2" pos="390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7540852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9083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823">
          <p15:clr>
            <a:srgbClr val="FBAE40"/>
          </p15:clr>
        </p15:guide>
        <p15:guide id="2" pos="39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0629771" y="260784"/>
            <a:ext cx="1264355" cy="405412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65F2260B-3D43-F744-83BB-B35E5A1A8A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224199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3201264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02466E5-C2DA-1248-93EB-E9373543C38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61602" y="591784"/>
            <a:ext cx="5618069" cy="43019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300" b="1" i="0">
                <a:solidFill>
                  <a:srgbClr val="003162"/>
                </a:solidFill>
                <a:latin typeface="Mont Heavy DEMO" pitchFamily="2" charset="0"/>
              </a:defRPr>
            </a:lvl1pPr>
          </a:lstStyle>
          <a:p>
            <a:pPr lvl="0"/>
            <a:r>
              <a:rPr lang="ru-RU" dirty="0"/>
              <a:t>1.1</a:t>
            </a:r>
            <a:endParaRPr lang="en-US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DD7610B-C9DD-3040-ADFF-C351FA9D8DB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1601" y="1129666"/>
            <a:ext cx="7351247" cy="93580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5100"/>
              </a:lnSpc>
              <a:buNone/>
              <a:defRPr sz="5400" b="1" i="0">
                <a:solidFill>
                  <a:srgbClr val="003162"/>
                </a:solidFill>
                <a:latin typeface="Mont Heavy DEMO" pitchFamily="2" charset="0"/>
              </a:defRPr>
            </a:lvl1pPr>
          </a:lstStyle>
          <a:p>
            <a:pPr lvl="0"/>
            <a:r>
              <a:rPr lang="ru-RU" dirty="0"/>
              <a:t>Наша миссия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453FF13-1923-A14B-AB33-F6D7B27FC2A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1601" y="2173157"/>
            <a:ext cx="8665633" cy="167802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520"/>
              </a:lnSpc>
              <a:spcBef>
                <a:spcPts val="0"/>
              </a:spcBef>
              <a:buNone/>
              <a:defRPr sz="2160" b="1" i="0">
                <a:latin typeface="Mont Bold" panose="00000900000000000000" pitchFamily="50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ru-RU" dirty="0"/>
              <a:t>Мы гордимся тем, что вносим вклад в развитие </a:t>
            </a:r>
          </a:p>
          <a:p>
            <a:pPr lvl="0"/>
            <a:r>
              <a:rPr lang="ru-RU" dirty="0"/>
              <a:t>транспортно-логистического бизнеса России, </a:t>
            </a:r>
          </a:p>
          <a:p>
            <a:pPr lvl="0"/>
            <a:r>
              <a:rPr lang="ru-RU" dirty="0"/>
              <a:t>помогаем людям всесторонне развиваться, </a:t>
            </a:r>
          </a:p>
          <a:p>
            <a:pPr lvl="0"/>
            <a:r>
              <a:rPr lang="ru-RU" dirty="0"/>
              <a:t>открывать для себя новое, находить свой путь </a:t>
            </a:r>
          </a:p>
          <a:p>
            <a:pPr lvl="0"/>
            <a:r>
              <a:rPr lang="ru-RU" dirty="0"/>
              <a:t>и достигать поставленных целей!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8AD59A7E-2899-1C4C-9A7D-01496ACFE7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846854" y="4163266"/>
            <a:ext cx="8665633" cy="1678025"/>
          </a:xfrm>
          <a:prstGeom prst="rect">
            <a:avLst/>
          </a:prstGeom>
        </p:spPr>
        <p:txBody>
          <a:bodyPr/>
          <a:lstStyle>
            <a:lvl1pPr marL="205740" indent="-205740">
              <a:lnSpc>
                <a:spcPts val="2340"/>
              </a:lnSpc>
              <a:spcBef>
                <a:spcPts val="0"/>
              </a:spcBef>
              <a:buSzPct val="80000"/>
              <a:buFontTx/>
              <a:buBlip>
                <a:blip r:embed="rId2"/>
              </a:buBlip>
              <a:defRPr sz="1440" b="1" i="0">
                <a:latin typeface="Mont" pitchFamily="2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ru-RU" dirty="0"/>
              <a:t>Открытость и готовность к изменениям</a:t>
            </a:r>
          </a:p>
          <a:p>
            <a:pPr lvl="0"/>
            <a:r>
              <a:rPr lang="ru-RU" dirty="0"/>
              <a:t>Нам доверяют обучение профессионалов </a:t>
            </a:r>
          </a:p>
          <a:p>
            <a:pPr lvl="0"/>
            <a:r>
              <a:rPr lang="ru-RU" dirty="0"/>
              <a:t>Развитие лидеров нового поколения</a:t>
            </a:r>
          </a:p>
          <a:p>
            <a:pPr lvl="0"/>
            <a:r>
              <a:rPr lang="ru-RU" dirty="0"/>
              <a:t>Использование современных инструментов оценки персонала </a:t>
            </a:r>
          </a:p>
          <a:p>
            <a:pPr lvl="0"/>
            <a:r>
              <a:rPr lang="ru-RU" dirty="0"/>
              <a:t>Создание эффективного бизнес-пространства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8FEAEF9-C9FD-AF48-B80C-465046D0D60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94425" y="674389"/>
            <a:ext cx="3166534" cy="43053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260" b="1" i="0">
                <a:solidFill>
                  <a:srgbClr val="939598"/>
                </a:solidFill>
                <a:latin typeface="Mont Bold" panose="00000900000000000000" pitchFamily="50" charset="0"/>
              </a:defRPr>
            </a:lvl1pPr>
          </a:lstStyle>
          <a:p>
            <a:pPr lvl="0"/>
            <a:r>
              <a:rPr lang="ru-RU" dirty="0"/>
              <a:t>ОБ УНИВЕРСИТЕТЕ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126326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21946" y="353098"/>
            <a:ext cx="10715400" cy="754939"/>
          </a:xfrm>
          <a:prstGeom prst="rect">
            <a:avLst/>
          </a:prstGeom>
        </p:spPr>
        <p:txBody>
          <a:bodyPr/>
          <a:lstStyle>
            <a:lvl1pPr>
              <a:defRPr lang="ru-RU" sz="2880" b="1" i="0" kern="1200" dirty="0">
                <a:solidFill>
                  <a:srgbClr val="003162"/>
                </a:solidFill>
                <a:latin typeface="Mont Bold" panose="00000900000000000000" pitchFamily="50" charset="0"/>
                <a:ea typeface="+mn-ea"/>
                <a:cs typeface="Mont Bold" panose="00000900000000000000" pitchFamily="50" charset="0"/>
              </a:defRPr>
            </a:lvl1pPr>
          </a:lstStyle>
          <a:p>
            <a:r>
              <a:rPr lang="ru-RU" dirty="0"/>
              <a:t>Содержание</a:t>
            </a:r>
          </a:p>
        </p:txBody>
      </p:sp>
      <p:sp>
        <p:nvSpPr>
          <p:cNvPr id="40" name="Текст 39"/>
          <p:cNvSpPr>
            <a:spLocks noGrp="1"/>
          </p:cNvSpPr>
          <p:nvPr>
            <p:ph type="body" sz="quarter" idx="11" hasCustomPrompt="1"/>
          </p:nvPr>
        </p:nvSpPr>
        <p:spPr>
          <a:xfrm>
            <a:off x="932699" y="1955887"/>
            <a:ext cx="1753428" cy="548640"/>
          </a:xfrm>
          <a:prstGeom prst="rect">
            <a:avLst/>
          </a:prstGeom>
        </p:spPr>
        <p:txBody>
          <a:bodyPr/>
          <a:lstStyle>
            <a:lvl1pPr marL="0" marR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80">
                <a:solidFill>
                  <a:srgbClr val="003162"/>
                </a:solidFill>
              </a:defRPr>
            </a:lvl1pPr>
          </a:lstStyle>
          <a:p>
            <a:pPr marL="0" marR="0" lvl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>
                <a:solidFill>
                  <a:srgbClr val="003162"/>
                </a:solidFill>
              </a:rPr>
              <a:t>Название раздела 1</a:t>
            </a:r>
          </a:p>
          <a:p>
            <a:pPr lvl="0"/>
            <a:endParaRPr lang="ru-RU" dirty="0"/>
          </a:p>
        </p:txBody>
      </p:sp>
      <p:sp>
        <p:nvSpPr>
          <p:cNvPr id="43" name="Текст 42"/>
          <p:cNvSpPr>
            <a:spLocks noGrp="1"/>
          </p:cNvSpPr>
          <p:nvPr>
            <p:ph type="body" sz="quarter" idx="13" hasCustomPrompt="1"/>
          </p:nvPr>
        </p:nvSpPr>
        <p:spPr>
          <a:xfrm>
            <a:off x="4466823" y="1954541"/>
            <a:ext cx="2182468" cy="548640"/>
          </a:xfrm>
          <a:prstGeom prst="rect">
            <a:avLst/>
          </a:prstGeom>
        </p:spPr>
        <p:txBody>
          <a:bodyPr/>
          <a:lstStyle>
            <a:lvl1pPr marL="0" marR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80"/>
            </a:lvl1pPr>
          </a:lstStyle>
          <a:p>
            <a:pPr marL="0" marR="0" lvl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>
                <a:solidFill>
                  <a:srgbClr val="003162"/>
                </a:solidFill>
              </a:rPr>
              <a:t>Название раздела 3</a:t>
            </a:r>
          </a:p>
        </p:txBody>
      </p:sp>
      <p:sp>
        <p:nvSpPr>
          <p:cNvPr id="45" name="Текст 44"/>
          <p:cNvSpPr>
            <a:spLocks noGrp="1"/>
          </p:cNvSpPr>
          <p:nvPr>
            <p:ph type="body" sz="quarter" idx="14" hasCustomPrompt="1"/>
          </p:nvPr>
        </p:nvSpPr>
        <p:spPr>
          <a:xfrm>
            <a:off x="8049043" y="1955011"/>
            <a:ext cx="2167854" cy="548640"/>
          </a:xfrm>
          <a:prstGeom prst="rect">
            <a:avLst/>
          </a:prstGeom>
        </p:spPr>
        <p:txBody>
          <a:bodyPr/>
          <a:lstStyle>
            <a:lvl1pPr marL="0" marR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80" baseline="0"/>
            </a:lvl1pPr>
          </a:lstStyle>
          <a:p>
            <a:pPr marL="0" marR="0" lvl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>
                <a:solidFill>
                  <a:srgbClr val="003162"/>
                </a:solidFill>
              </a:rPr>
              <a:t>Название раздела 5</a:t>
            </a:r>
          </a:p>
        </p:txBody>
      </p:sp>
      <p:sp>
        <p:nvSpPr>
          <p:cNvPr id="47" name="Текст 46"/>
          <p:cNvSpPr>
            <a:spLocks noGrp="1"/>
          </p:cNvSpPr>
          <p:nvPr>
            <p:ph type="body" sz="quarter" idx="15" hasCustomPrompt="1"/>
          </p:nvPr>
        </p:nvSpPr>
        <p:spPr>
          <a:xfrm>
            <a:off x="3239588" y="4994910"/>
            <a:ext cx="2185852" cy="548640"/>
          </a:xfrm>
          <a:prstGeom prst="rect">
            <a:avLst/>
          </a:prstGeom>
        </p:spPr>
        <p:txBody>
          <a:bodyPr/>
          <a:lstStyle>
            <a:lvl1pPr marL="0" marR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80" baseline="0"/>
            </a:lvl1pPr>
          </a:lstStyle>
          <a:p>
            <a:pPr marL="0" marR="0" lvl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>
                <a:solidFill>
                  <a:srgbClr val="003162"/>
                </a:solidFill>
              </a:rPr>
              <a:t>Название раздела 2</a:t>
            </a:r>
          </a:p>
        </p:txBody>
      </p:sp>
      <p:sp>
        <p:nvSpPr>
          <p:cNvPr id="49" name="Текст 48"/>
          <p:cNvSpPr>
            <a:spLocks noGrp="1"/>
          </p:cNvSpPr>
          <p:nvPr>
            <p:ph type="body" sz="quarter" idx="16" hasCustomPrompt="1"/>
          </p:nvPr>
        </p:nvSpPr>
        <p:spPr>
          <a:xfrm>
            <a:off x="7700094" y="4988516"/>
            <a:ext cx="2187619" cy="548640"/>
          </a:xfrm>
          <a:prstGeom prst="rect">
            <a:avLst/>
          </a:prstGeom>
        </p:spPr>
        <p:txBody>
          <a:bodyPr/>
          <a:lstStyle>
            <a:lvl1pPr marL="0" marR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80" baseline="0"/>
            </a:lvl1pPr>
          </a:lstStyle>
          <a:p>
            <a:pPr marL="0" marR="0" lvl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>
                <a:solidFill>
                  <a:srgbClr val="003162"/>
                </a:solidFill>
              </a:rPr>
              <a:t>Название раздела 4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7" hasCustomPrompt="1"/>
          </p:nvPr>
        </p:nvSpPr>
        <p:spPr>
          <a:xfrm>
            <a:off x="560105" y="1955887"/>
            <a:ext cx="355117" cy="548640"/>
          </a:xfrm>
          <a:prstGeom prst="rect">
            <a:avLst/>
          </a:prstGeom>
        </p:spPr>
        <p:txBody>
          <a:bodyPr/>
          <a:lstStyle>
            <a:lvl1pPr marL="0" marR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920"/>
            </a:lvl1pPr>
          </a:lstStyle>
          <a:p>
            <a:pPr marL="0" marR="0" lvl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4320" b="1" dirty="0">
                <a:solidFill>
                  <a:srgbClr val="003162"/>
                </a:solidFill>
              </a:rPr>
              <a:t>1</a:t>
            </a:r>
          </a:p>
          <a:p>
            <a:pPr lvl="0"/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8" hasCustomPrompt="1"/>
          </p:nvPr>
        </p:nvSpPr>
        <p:spPr>
          <a:xfrm>
            <a:off x="4024390" y="1944209"/>
            <a:ext cx="429619" cy="548640"/>
          </a:xfrm>
          <a:prstGeom prst="rect">
            <a:avLst/>
          </a:prstGeom>
        </p:spPr>
        <p:txBody>
          <a:bodyPr/>
          <a:lstStyle>
            <a:lvl1pPr marL="0" marR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920"/>
            </a:lvl1pPr>
          </a:lstStyle>
          <a:p>
            <a:pPr marL="0" marR="0" lvl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4320" b="1" dirty="0">
                <a:solidFill>
                  <a:srgbClr val="003162"/>
                </a:solidFill>
              </a:rPr>
              <a:t>3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9" hasCustomPrompt="1"/>
          </p:nvPr>
        </p:nvSpPr>
        <p:spPr>
          <a:xfrm>
            <a:off x="7634507" y="1955722"/>
            <a:ext cx="405765" cy="548640"/>
          </a:xfrm>
          <a:prstGeom prst="rect">
            <a:avLst/>
          </a:prstGeom>
        </p:spPr>
        <p:txBody>
          <a:bodyPr/>
          <a:lstStyle>
            <a:lvl1pPr marL="0" marR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920"/>
            </a:lvl1pPr>
          </a:lstStyle>
          <a:p>
            <a:pPr marL="0" marR="0" lvl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4320" b="1" dirty="0">
                <a:solidFill>
                  <a:srgbClr val="003162"/>
                </a:solidFill>
              </a:rPr>
              <a:t>5</a:t>
            </a:r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20" hasCustomPrompt="1"/>
          </p:nvPr>
        </p:nvSpPr>
        <p:spPr>
          <a:xfrm>
            <a:off x="2825792" y="4993720"/>
            <a:ext cx="413797" cy="548640"/>
          </a:xfrm>
          <a:prstGeom prst="rect">
            <a:avLst/>
          </a:prstGeom>
        </p:spPr>
        <p:txBody>
          <a:bodyPr/>
          <a:lstStyle>
            <a:lvl1pPr marL="0" marR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920"/>
            </a:lvl1pPr>
          </a:lstStyle>
          <a:p>
            <a:pPr marL="0" marR="0" lvl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4320" b="1" dirty="0">
                <a:solidFill>
                  <a:srgbClr val="003162"/>
                </a:solidFill>
              </a:rPr>
              <a:t>2</a:t>
            </a:r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21" hasCustomPrompt="1"/>
          </p:nvPr>
        </p:nvSpPr>
        <p:spPr>
          <a:xfrm>
            <a:off x="7223180" y="4988516"/>
            <a:ext cx="435181" cy="548640"/>
          </a:xfrm>
          <a:prstGeom prst="rect">
            <a:avLst/>
          </a:prstGeom>
        </p:spPr>
        <p:txBody>
          <a:bodyPr/>
          <a:lstStyle>
            <a:lvl1pPr marL="0" marR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920"/>
            </a:lvl1pPr>
          </a:lstStyle>
          <a:p>
            <a:pPr marL="0" marR="0" lvl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4320" b="1" dirty="0">
                <a:solidFill>
                  <a:srgbClr val="003162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93663403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5823">
          <p15:clr>
            <a:srgbClr val="FBAE40"/>
          </p15:clr>
        </p15:guide>
        <p15:guide id="2" pos="39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C133F4E-8DA1-7249-BC24-FAC35477AAA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1172" y="591784"/>
            <a:ext cx="6845039" cy="5190882"/>
          </a:xfrm>
          <a:prstGeom prst="rect">
            <a:avLst/>
          </a:prstGeom>
        </p:spPr>
        <p:txBody>
          <a:bodyPr/>
          <a:lstStyle>
            <a:lvl1pPr marL="0" marR="0" indent="0" algn="l" defTabSz="91439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80" b="1" i="0">
                <a:solidFill>
                  <a:srgbClr val="003162"/>
                </a:solidFill>
                <a:latin typeface="Mont Bold" panose="00000900000000000000" pitchFamily="50" charset="0"/>
                <a:cs typeface="Mont Bold" panose="00000900000000000000" pitchFamily="50" charset="0"/>
              </a:defRPr>
            </a:lvl1pPr>
          </a:lstStyle>
          <a:p>
            <a:pPr marL="0" marR="0" lvl="0" indent="0" algn="l" defTabSz="91439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НАЗВАНИЕ РАЗДЕЛА 1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6510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00">
          <p15:clr>
            <a:srgbClr val="FBAE40"/>
          </p15:clr>
        </p15:guide>
        <p15:guide id="2" pos="390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21946" y="353098"/>
            <a:ext cx="10715400" cy="754939"/>
          </a:xfrm>
          <a:prstGeom prst="rect">
            <a:avLst/>
          </a:prstGeom>
        </p:spPr>
        <p:txBody>
          <a:bodyPr/>
          <a:lstStyle>
            <a:lvl1pPr>
              <a:defRPr lang="ru-RU" sz="3000" b="1" i="0" kern="1200" baseline="0" dirty="0">
                <a:solidFill>
                  <a:srgbClr val="003162"/>
                </a:solidFill>
                <a:latin typeface="Mont Bold" panose="00000900000000000000" pitchFamily="50" charset="0"/>
                <a:ea typeface="+mn-ea"/>
                <a:cs typeface="Mont Bold" panose="00000900000000000000" pitchFamily="50" charset="0"/>
              </a:defRPr>
            </a:lvl1pPr>
          </a:lstStyle>
          <a:p>
            <a:r>
              <a:rPr lang="ru-RU" dirty="0"/>
              <a:t>Название подраздела 1.1 (при наличии подразделов)</a:t>
            </a:r>
          </a:p>
        </p:txBody>
      </p:sp>
      <p:sp>
        <p:nvSpPr>
          <p:cNvPr id="19" name="Объект 18"/>
          <p:cNvSpPr>
            <a:spLocks noGrp="1"/>
          </p:cNvSpPr>
          <p:nvPr>
            <p:ph sz="quarter" idx="10" hasCustomPrompt="1"/>
          </p:nvPr>
        </p:nvSpPr>
        <p:spPr>
          <a:xfrm>
            <a:off x="4550485" y="1323023"/>
            <a:ext cx="7186220" cy="473392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14000"/>
              </a:lnSpc>
              <a:spcBef>
                <a:spcPts val="0"/>
              </a:spcBef>
              <a:buNone/>
              <a:defRPr sz="1800">
                <a:solidFill>
                  <a:srgbClr val="003162"/>
                </a:solidFill>
              </a:defRPr>
            </a:lvl1pPr>
          </a:lstStyle>
          <a:p>
            <a:pPr lvl="0"/>
            <a:r>
              <a:rPr lang="ru-RU" dirty="0"/>
              <a:t>Поезд «Сапсан» или «</a:t>
            </a:r>
            <a:r>
              <a:rPr lang="ru-RU" dirty="0" err="1"/>
              <a:t>Velaro</a:t>
            </a:r>
            <a:r>
              <a:rPr lang="ru-RU" dirty="0"/>
              <a:t> </a:t>
            </a:r>
            <a:r>
              <a:rPr lang="ru-RU" dirty="0" err="1"/>
              <a:t>Rus</a:t>
            </a:r>
            <a:r>
              <a:rPr lang="ru-RU" dirty="0"/>
              <a:t>» — разработка немецкого машиностроительного концерна «Siemens».</a:t>
            </a:r>
            <a:br>
              <a:rPr lang="ru-RU" dirty="0"/>
            </a:br>
            <a:br>
              <a:rPr lang="ru-RU" dirty="0"/>
            </a:br>
            <a:r>
              <a:rPr lang="ru-RU" dirty="0"/>
              <a:t>«Сапсан», построенный для ОАО «РЖД», способен развивать скорость до 350 км./ч., однако на российских железных дорогах его скорость ограничена до 250 км./ч. Несмотря на это, поезд преодолевает расстояние между Москвой и Санкт-Петербургом за рекордное время – 3 часа 45 минут!</a:t>
            </a:r>
          </a:p>
          <a:p>
            <a:pPr lvl="0"/>
            <a:endParaRPr lang="ru-RU" dirty="0"/>
          </a:p>
        </p:txBody>
      </p:sp>
      <p:sp>
        <p:nvSpPr>
          <p:cNvPr id="22" name="Текст 21"/>
          <p:cNvSpPr>
            <a:spLocks noGrp="1"/>
          </p:cNvSpPr>
          <p:nvPr>
            <p:ph type="body" sz="quarter" idx="11" hasCustomPrompt="1"/>
          </p:nvPr>
        </p:nvSpPr>
        <p:spPr>
          <a:xfrm>
            <a:off x="321946" y="5002694"/>
            <a:ext cx="4002629" cy="1043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ru-RU" sz="144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Mont Light" panose="00000500000000000000" pitchFamily="50" charset="0"/>
                <a:ea typeface="+mn-ea"/>
                <a:cs typeface="+mn-cs"/>
              </a:defRPr>
            </a:lvl1pPr>
          </a:lstStyle>
          <a:p>
            <a:pPr>
              <a:lnSpc>
                <a:spcPct val="114000"/>
              </a:lnSpc>
            </a:pPr>
            <a:r>
              <a:rPr lang="ru-RU" sz="600" dirty="0">
                <a:latin typeface="Verdana" pitchFamily="34" charset="0"/>
              </a:rPr>
              <a:t>Сапсан </a:t>
            </a:r>
            <a:r>
              <a:rPr lang="en-US" sz="600" dirty="0">
                <a:latin typeface="Verdana" pitchFamily="34" charset="0"/>
              </a:rPr>
              <a:t>–</a:t>
            </a:r>
            <a:r>
              <a:rPr lang="ru-RU" sz="600" dirty="0">
                <a:latin typeface="Verdana" pitchFamily="34" charset="0"/>
              </a:rPr>
              <a:t> это самая быстрая птица в мире —      по оценкам специалистов, в нападении она способна развивать скорость свыше 322 км/ч.</a:t>
            </a:r>
            <a:endParaRPr lang="ru-RU" sz="600" dirty="0">
              <a:solidFill>
                <a:srgbClr val="FF0000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3811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00">
          <p15:clr>
            <a:srgbClr val="FBAE40"/>
          </p15:clr>
        </p15:guide>
        <p15:guide id="2" pos="39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7715541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238284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823">
          <p15:clr>
            <a:srgbClr val="FBAE40"/>
          </p15:clr>
        </p15:guide>
        <p15:guide id="2" pos="39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110610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02466E5-C2DA-1248-93EB-E9373543C38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61602" y="591784"/>
            <a:ext cx="5618069" cy="43019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300" b="1" i="0">
                <a:solidFill>
                  <a:srgbClr val="003162"/>
                </a:solidFill>
                <a:latin typeface="Mont Heavy DEMO" pitchFamily="2" charset="0"/>
              </a:defRPr>
            </a:lvl1pPr>
          </a:lstStyle>
          <a:p>
            <a:pPr lvl="0"/>
            <a:r>
              <a:rPr lang="ru-RU" dirty="0"/>
              <a:t>1.1</a:t>
            </a:r>
            <a:endParaRPr lang="en-US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DD7610B-C9DD-3040-ADFF-C351FA9D8DB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1601" y="1129666"/>
            <a:ext cx="7351247" cy="93580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5100"/>
              </a:lnSpc>
              <a:buNone/>
              <a:defRPr sz="5400" b="1" i="0">
                <a:solidFill>
                  <a:srgbClr val="003162"/>
                </a:solidFill>
                <a:latin typeface="Mont Heavy DEMO" pitchFamily="2" charset="0"/>
              </a:defRPr>
            </a:lvl1pPr>
          </a:lstStyle>
          <a:p>
            <a:pPr lvl="0"/>
            <a:r>
              <a:rPr lang="ru-RU" dirty="0"/>
              <a:t>Наша миссия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453FF13-1923-A14B-AB33-F6D7B27FC2A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1601" y="2173157"/>
            <a:ext cx="8665633" cy="167802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520"/>
              </a:lnSpc>
              <a:spcBef>
                <a:spcPts val="0"/>
              </a:spcBef>
              <a:buNone/>
              <a:defRPr sz="2160" b="1" i="0">
                <a:latin typeface="Mont Bold" panose="00000900000000000000" pitchFamily="50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ru-RU" dirty="0"/>
              <a:t>Мы гордимся тем, что вносим вклад в развитие </a:t>
            </a:r>
          </a:p>
          <a:p>
            <a:pPr lvl="0"/>
            <a:r>
              <a:rPr lang="ru-RU" dirty="0"/>
              <a:t>транспортно-логистического бизнеса России, </a:t>
            </a:r>
          </a:p>
          <a:p>
            <a:pPr lvl="0"/>
            <a:r>
              <a:rPr lang="ru-RU" dirty="0"/>
              <a:t>помогаем людям всесторонне развиваться, </a:t>
            </a:r>
          </a:p>
          <a:p>
            <a:pPr lvl="0"/>
            <a:r>
              <a:rPr lang="ru-RU" dirty="0"/>
              <a:t>открывать для себя новое, находить свой путь </a:t>
            </a:r>
          </a:p>
          <a:p>
            <a:pPr lvl="0"/>
            <a:r>
              <a:rPr lang="ru-RU" dirty="0"/>
              <a:t>и достигать поставленных целей!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8AD59A7E-2899-1C4C-9A7D-01496ACFE7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846854" y="4163266"/>
            <a:ext cx="8665633" cy="1678025"/>
          </a:xfrm>
          <a:prstGeom prst="rect">
            <a:avLst/>
          </a:prstGeom>
        </p:spPr>
        <p:txBody>
          <a:bodyPr/>
          <a:lstStyle>
            <a:lvl1pPr marL="205740" indent="-205740">
              <a:lnSpc>
                <a:spcPts val="2340"/>
              </a:lnSpc>
              <a:spcBef>
                <a:spcPts val="0"/>
              </a:spcBef>
              <a:buSzPct val="80000"/>
              <a:buFontTx/>
              <a:buBlip>
                <a:blip r:embed="rId2"/>
              </a:buBlip>
              <a:defRPr sz="1440" b="1" i="0">
                <a:latin typeface="Mont" pitchFamily="2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ru-RU" dirty="0"/>
              <a:t>Открытость и готовность к изменениям</a:t>
            </a:r>
          </a:p>
          <a:p>
            <a:pPr lvl="0"/>
            <a:r>
              <a:rPr lang="ru-RU" dirty="0"/>
              <a:t>Нам доверяют обучение профессионалов </a:t>
            </a:r>
          </a:p>
          <a:p>
            <a:pPr lvl="0"/>
            <a:r>
              <a:rPr lang="ru-RU" dirty="0"/>
              <a:t>Развитие лидеров нового поколения</a:t>
            </a:r>
          </a:p>
          <a:p>
            <a:pPr lvl="0"/>
            <a:r>
              <a:rPr lang="ru-RU" dirty="0"/>
              <a:t>Использование современных инструментов оценки персонала </a:t>
            </a:r>
          </a:p>
          <a:p>
            <a:pPr lvl="0"/>
            <a:r>
              <a:rPr lang="ru-RU" dirty="0"/>
              <a:t>Создание эффективного бизнес-пространства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8FEAEF9-C9FD-AF48-B80C-465046D0D60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94425" y="674389"/>
            <a:ext cx="3166534" cy="43053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260" b="1" i="0">
                <a:solidFill>
                  <a:srgbClr val="939598"/>
                </a:solidFill>
                <a:latin typeface="Mont Bold" panose="00000900000000000000" pitchFamily="50" charset="0"/>
              </a:defRPr>
            </a:lvl1pPr>
          </a:lstStyle>
          <a:p>
            <a:pPr lvl="0"/>
            <a:r>
              <a:rPr lang="ru-RU" dirty="0"/>
              <a:t>ОБ УНИВЕРСИТЕТЕ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667852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21946" y="353098"/>
            <a:ext cx="10715400" cy="754939"/>
          </a:xfrm>
          <a:prstGeom prst="rect">
            <a:avLst/>
          </a:prstGeom>
        </p:spPr>
        <p:txBody>
          <a:bodyPr/>
          <a:lstStyle>
            <a:lvl1pPr>
              <a:defRPr lang="ru-RU" sz="2880" b="1" i="0" kern="1200" dirty="0">
                <a:solidFill>
                  <a:srgbClr val="003162"/>
                </a:solidFill>
                <a:latin typeface="Mont Bold" panose="00000900000000000000" pitchFamily="50" charset="0"/>
                <a:ea typeface="+mn-ea"/>
                <a:cs typeface="Mont Bold" panose="00000900000000000000" pitchFamily="50" charset="0"/>
              </a:defRPr>
            </a:lvl1pPr>
          </a:lstStyle>
          <a:p>
            <a:r>
              <a:rPr lang="ru-RU" dirty="0"/>
              <a:t>Содержание</a:t>
            </a:r>
          </a:p>
        </p:txBody>
      </p:sp>
      <p:sp>
        <p:nvSpPr>
          <p:cNvPr id="40" name="Текст 39"/>
          <p:cNvSpPr>
            <a:spLocks noGrp="1"/>
          </p:cNvSpPr>
          <p:nvPr>
            <p:ph type="body" sz="quarter" idx="11" hasCustomPrompt="1"/>
          </p:nvPr>
        </p:nvSpPr>
        <p:spPr>
          <a:xfrm>
            <a:off x="932699" y="1955887"/>
            <a:ext cx="1753428" cy="548640"/>
          </a:xfrm>
          <a:prstGeom prst="rect">
            <a:avLst/>
          </a:prstGeom>
        </p:spPr>
        <p:txBody>
          <a:bodyPr/>
          <a:lstStyle>
            <a:lvl1pPr marL="0" marR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80">
                <a:solidFill>
                  <a:srgbClr val="003162"/>
                </a:solidFill>
              </a:defRPr>
            </a:lvl1pPr>
          </a:lstStyle>
          <a:p>
            <a:pPr marL="0" marR="0" lvl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>
                <a:solidFill>
                  <a:srgbClr val="003162"/>
                </a:solidFill>
              </a:rPr>
              <a:t>Название раздела 1</a:t>
            </a:r>
          </a:p>
          <a:p>
            <a:pPr lvl="0"/>
            <a:endParaRPr lang="ru-RU" dirty="0"/>
          </a:p>
        </p:txBody>
      </p:sp>
      <p:sp>
        <p:nvSpPr>
          <p:cNvPr id="43" name="Текст 42"/>
          <p:cNvSpPr>
            <a:spLocks noGrp="1"/>
          </p:cNvSpPr>
          <p:nvPr>
            <p:ph type="body" sz="quarter" idx="13" hasCustomPrompt="1"/>
          </p:nvPr>
        </p:nvSpPr>
        <p:spPr>
          <a:xfrm>
            <a:off x="4466823" y="1954541"/>
            <a:ext cx="2182468" cy="548640"/>
          </a:xfrm>
          <a:prstGeom prst="rect">
            <a:avLst/>
          </a:prstGeom>
        </p:spPr>
        <p:txBody>
          <a:bodyPr/>
          <a:lstStyle>
            <a:lvl1pPr marL="0" marR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80"/>
            </a:lvl1pPr>
          </a:lstStyle>
          <a:p>
            <a:pPr marL="0" marR="0" lvl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>
                <a:solidFill>
                  <a:srgbClr val="003162"/>
                </a:solidFill>
              </a:rPr>
              <a:t>Название раздела 3</a:t>
            </a:r>
          </a:p>
        </p:txBody>
      </p:sp>
      <p:sp>
        <p:nvSpPr>
          <p:cNvPr id="45" name="Текст 44"/>
          <p:cNvSpPr>
            <a:spLocks noGrp="1"/>
          </p:cNvSpPr>
          <p:nvPr>
            <p:ph type="body" sz="quarter" idx="14" hasCustomPrompt="1"/>
          </p:nvPr>
        </p:nvSpPr>
        <p:spPr>
          <a:xfrm>
            <a:off x="8049043" y="1955011"/>
            <a:ext cx="2167854" cy="548640"/>
          </a:xfrm>
          <a:prstGeom prst="rect">
            <a:avLst/>
          </a:prstGeom>
        </p:spPr>
        <p:txBody>
          <a:bodyPr/>
          <a:lstStyle>
            <a:lvl1pPr marL="0" marR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80" baseline="0"/>
            </a:lvl1pPr>
          </a:lstStyle>
          <a:p>
            <a:pPr marL="0" marR="0" lvl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>
                <a:solidFill>
                  <a:srgbClr val="003162"/>
                </a:solidFill>
              </a:rPr>
              <a:t>Название раздела 5</a:t>
            </a:r>
          </a:p>
        </p:txBody>
      </p:sp>
      <p:sp>
        <p:nvSpPr>
          <p:cNvPr id="47" name="Текст 46"/>
          <p:cNvSpPr>
            <a:spLocks noGrp="1"/>
          </p:cNvSpPr>
          <p:nvPr>
            <p:ph type="body" sz="quarter" idx="15" hasCustomPrompt="1"/>
          </p:nvPr>
        </p:nvSpPr>
        <p:spPr>
          <a:xfrm>
            <a:off x="3239588" y="4994910"/>
            <a:ext cx="2185852" cy="548640"/>
          </a:xfrm>
          <a:prstGeom prst="rect">
            <a:avLst/>
          </a:prstGeom>
        </p:spPr>
        <p:txBody>
          <a:bodyPr/>
          <a:lstStyle>
            <a:lvl1pPr marL="0" marR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80" baseline="0"/>
            </a:lvl1pPr>
          </a:lstStyle>
          <a:p>
            <a:pPr marL="0" marR="0" lvl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>
                <a:solidFill>
                  <a:srgbClr val="003162"/>
                </a:solidFill>
              </a:rPr>
              <a:t>Название раздела 2</a:t>
            </a:r>
          </a:p>
        </p:txBody>
      </p:sp>
      <p:sp>
        <p:nvSpPr>
          <p:cNvPr id="49" name="Текст 48"/>
          <p:cNvSpPr>
            <a:spLocks noGrp="1"/>
          </p:cNvSpPr>
          <p:nvPr>
            <p:ph type="body" sz="quarter" idx="16" hasCustomPrompt="1"/>
          </p:nvPr>
        </p:nvSpPr>
        <p:spPr>
          <a:xfrm>
            <a:off x="7700094" y="4988516"/>
            <a:ext cx="2187619" cy="548640"/>
          </a:xfrm>
          <a:prstGeom prst="rect">
            <a:avLst/>
          </a:prstGeom>
        </p:spPr>
        <p:txBody>
          <a:bodyPr/>
          <a:lstStyle>
            <a:lvl1pPr marL="0" marR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80" baseline="0"/>
            </a:lvl1pPr>
          </a:lstStyle>
          <a:p>
            <a:pPr marL="0" marR="0" lvl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>
                <a:solidFill>
                  <a:srgbClr val="003162"/>
                </a:solidFill>
              </a:rPr>
              <a:t>Название раздела 4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7" hasCustomPrompt="1"/>
          </p:nvPr>
        </p:nvSpPr>
        <p:spPr>
          <a:xfrm>
            <a:off x="560105" y="1955887"/>
            <a:ext cx="355117" cy="548640"/>
          </a:xfrm>
          <a:prstGeom prst="rect">
            <a:avLst/>
          </a:prstGeom>
        </p:spPr>
        <p:txBody>
          <a:bodyPr/>
          <a:lstStyle>
            <a:lvl1pPr marL="0" marR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920"/>
            </a:lvl1pPr>
          </a:lstStyle>
          <a:p>
            <a:pPr marL="0" marR="0" lvl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4320" b="1" dirty="0">
                <a:solidFill>
                  <a:srgbClr val="003162"/>
                </a:solidFill>
              </a:rPr>
              <a:t>1</a:t>
            </a:r>
          </a:p>
          <a:p>
            <a:pPr lvl="0"/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8" hasCustomPrompt="1"/>
          </p:nvPr>
        </p:nvSpPr>
        <p:spPr>
          <a:xfrm>
            <a:off x="4024390" y="1944209"/>
            <a:ext cx="429619" cy="548640"/>
          </a:xfrm>
          <a:prstGeom prst="rect">
            <a:avLst/>
          </a:prstGeom>
        </p:spPr>
        <p:txBody>
          <a:bodyPr/>
          <a:lstStyle>
            <a:lvl1pPr marL="0" marR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920"/>
            </a:lvl1pPr>
          </a:lstStyle>
          <a:p>
            <a:pPr marL="0" marR="0" lvl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4320" b="1" dirty="0">
                <a:solidFill>
                  <a:srgbClr val="003162"/>
                </a:solidFill>
              </a:rPr>
              <a:t>3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9" hasCustomPrompt="1"/>
          </p:nvPr>
        </p:nvSpPr>
        <p:spPr>
          <a:xfrm>
            <a:off x="7634507" y="1955722"/>
            <a:ext cx="405765" cy="548640"/>
          </a:xfrm>
          <a:prstGeom prst="rect">
            <a:avLst/>
          </a:prstGeom>
        </p:spPr>
        <p:txBody>
          <a:bodyPr/>
          <a:lstStyle>
            <a:lvl1pPr marL="0" marR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920"/>
            </a:lvl1pPr>
          </a:lstStyle>
          <a:p>
            <a:pPr marL="0" marR="0" lvl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4320" b="1" dirty="0">
                <a:solidFill>
                  <a:srgbClr val="003162"/>
                </a:solidFill>
              </a:rPr>
              <a:t>5</a:t>
            </a:r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20" hasCustomPrompt="1"/>
          </p:nvPr>
        </p:nvSpPr>
        <p:spPr>
          <a:xfrm>
            <a:off x="2825792" y="4993720"/>
            <a:ext cx="413797" cy="548640"/>
          </a:xfrm>
          <a:prstGeom prst="rect">
            <a:avLst/>
          </a:prstGeom>
        </p:spPr>
        <p:txBody>
          <a:bodyPr/>
          <a:lstStyle>
            <a:lvl1pPr marL="0" marR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920"/>
            </a:lvl1pPr>
          </a:lstStyle>
          <a:p>
            <a:pPr marL="0" marR="0" lvl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4320" b="1" dirty="0">
                <a:solidFill>
                  <a:srgbClr val="003162"/>
                </a:solidFill>
              </a:rPr>
              <a:t>2</a:t>
            </a:r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21" hasCustomPrompt="1"/>
          </p:nvPr>
        </p:nvSpPr>
        <p:spPr>
          <a:xfrm>
            <a:off x="7223180" y="4988516"/>
            <a:ext cx="435181" cy="548640"/>
          </a:xfrm>
          <a:prstGeom prst="rect">
            <a:avLst/>
          </a:prstGeom>
        </p:spPr>
        <p:txBody>
          <a:bodyPr/>
          <a:lstStyle>
            <a:lvl1pPr marL="0" marR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920"/>
            </a:lvl1pPr>
          </a:lstStyle>
          <a:p>
            <a:pPr marL="0" marR="0" lvl="0" indent="0" algn="l" defTabSz="609594" rtl="0" eaLnBrk="1" fontAlgn="auto" latinLnBrk="0" hangingPunct="1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4320" b="1" dirty="0">
                <a:solidFill>
                  <a:srgbClr val="003162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328006313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5823">
          <p15:clr>
            <a:srgbClr val="FBAE40"/>
          </p15:clr>
        </p15:guide>
        <p15:guide id="2" pos="39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defTabSz="914400" fontAlgn="base">
              <a:spcBef>
                <a:spcPct val="0"/>
              </a:spcBef>
              <a:spcAft>
                <a:spcPct val="0"/>
              </a:spcAft>
              <a:defRPr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0A325F5-1EA4-4263-BD41-DA3ECCDF9D59}" type="datetimeFigureOut">
              <a:rPr lang="en-US" smtClean="0"/>
              <a:pPr>
                <a:defRPr/>
              </a:pPr>
              <a:t>12/8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defTabSz="914400" fontAlgn="base">
              <a:spcBef>
                <a:spcPct val="0"/>
              </a:spcBef>
              <a:spcAft>
                <a:spcPct val="0"/>
              </a:spcAft>
              <a:defRPr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0A4E80B9-1AA0-4D53-A826-C74C83BF5077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220096033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C133F4E-8DA1-7249-BC24-FAC35477AAA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1172" y="591784"/>
            <a:ext cx="6845039" cy="5190882"/>
          </a:xfrm>
          <a:prstGeom prst="rect">
            <a:avLst/>
          </a:prstGeom>
        </p:spPr>
        <p:txBody>
          <a:bodyPr/>
          <a:lstStyle>
            <a:lvl1pPr marL="0" marR="0" indent="0" algn="l" defTabSz="91439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80" b="1" i="0">
                <a:solidFill>
                  <a:srgbClr val="003162"/>
                </a:solidFill>
                <a:latin typeface="Mont Bold" panose="00000900000000000000" pitchFamily="50" charset="0"/>
                <a:cs typeface="Mont Bold" panose="00000900000000000000" pitchFamily="50" charset="0"/>
              </a:defRPr>
            </a:lvl1pPr>
          </a:lstStyle>
          <a:p>
            <a:pPr marL="0" marR="0" lvl="0" indent="0" algn="l" defTabSz="91439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НАЗВАНИЕ РАЗДЕЛА 1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9603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00">
          <p15:clr>
            <a:srgbClr val="FBAE40"/>
          </p15:clr>
        </p15:guide>
        <p15:guide id="2" pos="39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C133F4E-8DA1-7249-BC24-FAC35477AAA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9125" y="591784"/>
            <a:ext cx="6557086" cy="5190882"/>
          </a:xfrm>
          <a:prstGeom prst="rect">
            <a:avLst/>
          </a:prstGeom>
        </p:spPr>
        <p:txBody>
          <a:bodyPr/>
          <a:lstStyle>
            <a:lvl1pPr marL="0" marR="0" indent="0" algn="l" defTabSz="91439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80" b="1" i="0">
                <a:solidFill>
                  <a:srgbClr val="003162"/>
                </a:solidFill>
                <a:latin typeface="Mont Bold" panose="00000900000000000000" pitchFamily="50" charset="0"/>
                <a:cs typeface="Mont Bold" panose="00000900000000000000" pitchFamily="50" charset="0"/>
              </a:defRPr>
            </a:lvl1pPr>
          </a:lstStyle>
          <a:p>
            <a:pPr marL="0" marR="0" lvl="0" indent="0" algn="l" defTabSz="91439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1. Название раздела 1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5928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00">
          <p15:clr>
            <a:srgbClr val="FBAE40"/>
          </p15:clr>
        </p15:guide>
        <p15:guide id="2" pos="39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3850336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_без_фото_RUS">
    <p:bg>
      <p:bgPr>
        <a:gradFill>
          <a:gsLst>
            <a:gs pos="0">
              <a:srgbClr val="8ACAEA"/>
            </a:gs>
            <a:gs pos="58000">
              <a:srgbClr val="3185B9"/>
            </a:gs>
          </a:gsLst>
          <a:lin ang="4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B5571856-3A3F-4011-A20D-C366168EA23C}"/>
              </a:ext>
            </a:extLst>
          </p:cNvPr>
          <p:cNvCxnSpPr>
            <a:cxnSpLocks/>
          </p:cNvCxnSpPr>
          <p:nvPr/>
        </p:nvCxnSpPr>
        <p:spPr>
          <a:xfrm>
            <a:off x="2393931" y="5400384"/>
            <a:ext cx="9036000" cy="0"/>
          </a:xfrm>
          <a:prstGeom prst="line">
            <a:avLst/>
          </a:prstGeom>
          <a:ln w="9525">
            <a:solidFill>
              <a:srgbClr val="1F59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9" name="Рисунок 38">
            <a:extLst>
              <a:ext uri="{FF2B5EF4-FFF2-40B4-BE49-F238E27FC236}">
                <a16:creationId xmlns:a16="http://schemas.microsoft.com/office/drawing/2014/main" id="{70FE38F8-12C5-4F95-8674-72F1BE3329A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64361" y="4361044"/>
            <a:ext cx="1472248" cy="1729549"/>
          </a:xfrm>
          <a:prstGeom prst="rect">
            <a:avLst/>
          </a:prstGeom>
        </p:spPr>
      </p:pic>
      <p:sp>
        <p:nvSpPr>
          <p:cNvPr id="40" name="Заголовок 1">
            <a:extLst>
              <a:ext uri="{FF2B5EF4-FFF2-40B4-BE49-F238E27FC236}">
                <a16:creationId xmlns:a16="http://schemas.microsoft.com/office/drawing/2014/main" id="{9B01F806-E107-40EB-9BD6-7F9226A521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3931" y="4015210"/>
            <a:ext cx="9033708" cy="12352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lnSpc>
                <a:spcPct val="100000"/>
              </a:lnSpc>
              <a:defRPr sz="3000" cap="all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42" name="Текст 41">
            <a:extLst>
              <a:ext uri="{FF2B5EF4-FFF2-40B4-BE49-F238E27FC236}">
                <a16:creationId xmlns:a16="http://schemas.microsoft.com/office/drawing/2014/main" id="{170497C1-4578-4A48-A95C-5709AB27024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81947" y="5491942"/>
            <a:ext cx="5504450" cy="407414"/>
          </a:xfrm>
        </p:spPr>
        <p:txBody>
          <a:bodyPr/>
          <a:lstStyle>
            <a:lvl1pPr algn="r">
              <a:buFontTx/>
              <a:buNone/>
              <a:defRPr lang="ru-RU" sz="1700" kern="1200" dirty="0" smtClean="0">
                <a:solidFill>
                  <a:srgbClr val="D9DBDD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algn="r">
              <a:lnSpc>
                <a:spcPts val="2200"/>
              </a:lnSpc>
            </a:pPr>
            <a:r>
              <a:rPr lang="ru-RU" dirty="0">
                <a:solidFill>
                  <a:srgbClr val="D9DBD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Имя Спикера</a:t>
            </a:r>
          </a:p>
        </p:txBody>
      </p:sp>
      <p:sp>
        <p:nvSpPr>
          <p:cNvPr id="45" name="Текст 41">
            <a:extLst>
              <a:ext uri="{FF2B5EF4-FFF2-40B4-BE49-F238E27FC236}">
                <a16:creationId xmlns:a16="http://schemas.microsoft.com/office/drawing/2014/main" id="{71E83E54-CF34-47DD-8703-A3ED1187976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81947" y="5920122"/>
            <a:ext cx="5504450" cy="407414"/>
          </a:xfrm>
        </p:spPr>
        <p:txBody>
          <a:bodyPr/>
          <a:lstStyle>
            <a:lvl1pPr algn="r">
              <a:buFontTx/>
              <a:buNone/>
              <a:defRPr lang="ru-RU" sz="1100" kern="1200" dirty="0" smtClean="0">
                <a:solidFill>
                  <a:schemeClr val="bg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algn="r">
              <a:lnSpc>
                <a:spcPts val="2200"/>
              </a:lnSpc>
            </a:pPr>
            <a:r>
              <a:rPr lang="ru-RU" dirty="0">
                <a:solidFill>
                  <a:srgbClr val="D9DBD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Москва, 2020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1342C8F5-ECD9-4765-9D70-9B571204D05D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95" y="20103"/>
            <a:ext cx="12176105" cy="46837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446506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Обложка_без_фото_ENG">
    <p:bg>
      <p:bgPr>
        <a:gradFill>
          <a:gsLst>
            <a:gs pos="0">
              <a:srgbClr val="8ACAEA"/>
            </a:gs>
            <a:gs pos="58000">
              <a:srgbClr val="3185B9"/>
            </a:gs>
          </a:gsLst>
          <a:lin ang="4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B5571856-3A3F-4011-A20D-C366168EA23C}"/>
              </a:ext>
            </a:extLst>
          </p:cNvPr>
          <p:cNvCxnSpPr>
            <a:cxnSpLocks/>
          </p:cNvCxnSpPr>
          <p:nvPr/>
        </p:nvCxnSpPr>
        <p:spPr>
          <a:xfrm>
            <a:off x="2393931" y="5400384"/>
            <a:ext cx="9036000" cy="0"/>
          </a:xfrm>
          <a:prstGeom prst="line">
            <a:avLst/>
          </a:prstGeom>
          <a:ln w="9525">
            <a:solidFill>
              <a:srgbClr val="1F59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Заголовок 1">
            <a:extLst>
              <a:ext uri="{FF2B5EF4-FFF2-40B4-BE49-F238E27FC236}">
                <a16:creationId xmlns:a16="http://schemas.microsoft.com/office/drawing/2014/main" id="{9B01F806-E107-40EB-9BD6-7F9226A521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3931" y="4015210"/>
            <a:ext cx="9033708" cy="12352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lnSpc>
                <a:spcPct val="100000"/>
              </a:lnSpc>
              <a:defRPr sz="3000" cap="all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42" name="Текст 41">
            <a:extLst>
              <a:ext uri="{FF2B5EF4-FFF2-40B4-BE49-F238E27FC236}">
                <a16:creationId xmlns:a16="http://schemas.microsoft.com/office/drawing/2014/main" id="{170497C1-4578-4A48-A95C-5709AB27024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81947" y="5491942"/>
            <a:ext cx="5504450" cy="407414"/>
          </a:xfrm>
        </p:spPr>
        <p:txBody>
          <a:bodyPr/>
          <a:lstStyle>
            <a:lvl1pPr algn="r">
              <a:buFontTx/>
              <a:buNone/>
              <a:defRPr lang="ru-RU" sz="1700" kern="1200" dirty="0" smtClean="0">
                <a:solidFill>
                  <a:srgbClr val="D9DBDD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algn="r">
              <a:lnSpc>
                <a:spcPts val="2200"/>
              </a:lnSpc>
            </a:pPr>
            <a:r>
              <a:rPr lang="ru-RU" dirty="0">
                <a:solidFill>
                  <a:srgbClr val="D9DBD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Имя Спикера</a:t>
            </a:r>
          </a:p>
        </p:txBody>
      </p:sp>
      <p:sp>
        <p:nvSpPr>
          <p:cNvPr id="45" name="Текст 41">
            <a:extLst>
              <a:ext uri="{FF2B5EF4-FFF2-40B4-BE49-F238E27FC236}">
                <a16:creationId xmlns:a16="http://schemas.microsoft.com/office/drawing/2014/main" id="{71E83E54-CF34-47DD-8703-A3ED1187976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81947" y="5920122"/>
            <a:ext cx="5504450" cy="407414"/>
          </a:xfrm>
        </p:spPr>
        <p:txBody>
          <a:bodyPr/>
          <a:lstStyle>
            <a:lvl1pPr algn="r">
              <a:buFontTx/>
              <a:buNone/>
              <a:defRPr lang="ru-RU" sz="1100" kern="1200" dirty="0" smtClean="0">
                <a:solidFill>
                  <a:schemeClr val="bg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algn="r">
              <a:lnSpc>
                <a:spcPts val="2200"/>
              </a:lnSpc>
            </a:pPr>
            <a:r>
              <a:rPr lang="ru-RU" dirty="0">
                <a:solidFill>
                  <a:srgbClr val="D9DBD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Москва, 2020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1342C8F5-ECD9-4765-9D70-9B571204D05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95" y="20103"/>
            <a:ext cx="12176105" cy="4683741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4C7FDAE1-CF8D-47EA-B2CF-048A9D874D0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67036" y="4367360"/>
            <a:ext cx="1472248" cy="1729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028299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ОбложкаФото1_RUS">
    <p:bg>
      <p:bgPr>
        <a:solidFill>
          <a:srgbClr val="4096C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48DA10CC-0CB7-4EE0-BB0A-21E52EBD950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30000"/>
                    </a14:imgEffect>
                    <a14:imgEffect>
                      <a14:saturation sat="39000"/>
                    </a14:imgEffect>
                    <a14:imgEffect>
                      <a14:brightnessContrast bright="13000" contrast="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4380" b="7535"/>
          <a:stretch/>
        </p:blipFill>
        <p:spPr>
          <a:xfrm flipH="1">
            <a:off x="-13922" y="116375"/>
            <a:ext cx="12205922" cy="3789959"/>
          </a:xfrm>
          <a:prstGeom prst="rect">
            <a:avLst/>
          </a:prstGeom>
        </p:spPr>
      </p:pic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84533F12-6317-448B-A050-F96B1463A6AB}"/>
              </a:ext>
            </a:extLst>
          </p:cNvPr>
          <p:cNvCxnSpPr>
            <a:cxnSpLocks/>
          </p:cNvCxnSpPr>
          <p:nvPr/>
        </p:nvCxnSpPr>
        <p:spPr>
          <a:xfrm>
            <a:off x="2393931" y="5400384"/>
            <a:ext cx="9036000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025E3B16-64ED-44E0-B13F-1C9FDB1016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93931" y="4097798"/>
            <a:ext cx="9033708" cy="12352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lnSpc>
                <a:spcPct val="100000"/>
              </a:lnSpc>
              <a:defRPr sz="3000" cap="all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Заголовок презентации</a:t>
            </a:r>
          </a:p>
        </p:txBody>
      </p:sp>
      <p:sp>
        <p:nvSpPr>
          <p:cNvPr id="19" name="Текст 41">
            <a:extLst>
              <a:ext uri="{FF2B5EF4-FFF2-40B4-BE49-F238E27FC236}">
                <a16:creationId xmlns:a16="http://schemas.microsoft.com/office/drawing/2014/main" id="{D4ACE49F-6377-4D09-887D-C2030C596E8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81947" y="5491942"/>
            <a:ext cx="5504450" cy="407414"/>
          </a:xfrm>
        </p:spPr>
        <p:txBody>
          <a:bodyPr/>
          <a:lstStyle>
            <a:lvl1pPr algn="r">
              <a:buFontTx/>
              <a:buNone/>
              <a:defRPr lang="ru-RU" sz="1700" kern="1200" dirty="0" smtClean="0">
                <a:solidFill>
                  <a:srgbClr val="D9DBDD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algn="r">
              <a:lnSpc>
                <a:spcPts val="2200"/>
              </a:lnSpc>
            </a:pPr>
            <a:r>
              <a:rPr lang="ru-RU" dirty="0">
                <a:solidFill>
                  <a:srgbClr val="D9DBD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Имя Спикера</a:t>
            </a:r>
          </a:p>
        </p:txBody>
      </p:sp>
      <p:sp>
        <p:nvSpPr>
          <p:cNvPr id="21" name="Текст 41">
            <a:extLst>
              <a:ext uri="{FF2B5EF4-FFF2-40B4-BE49-F238E27FC236}">
                <a16:creationId xmlns:a16="http://schemas.microsoft.com/office/drawing/2014/main" id="{7AA52F83-A220-47C3-96AE-E95E35A8EB9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81947" y="5920122"/>
            <a:ext cx="5504450" cy="407414"/>
          </a:xfrm>
        </p:spPr>
        <p:txBody>
          <a:bodyPr/>
          <a:lstStyle>
            <a:lvl1pPr algn="r">
              <a:buFontTx/>
              <a:buNone/>
              <a:defRPr lang="ru-RU" sz="1100" kern="1200" dirty="0" smtClean="0">
                <a:solidFill>
                  <a:schemeClr val="bg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algn="r">
              <a:lnSpc>
                <a:spcPts val="2200"/>
              </a:lnSpc>
            </a:pPr>
            <a:r>
              <a:rPr lang="ru-RU" dirty="0">
                <a:solidFill>
                  <a:srgbClr val="D9DBD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Москва, 2020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2985FF08-3EA9-49CF-87DD-52F52A0A93E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23532" y="0"/>
            <a:ext cx="12315532" cy="3906334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C34494B6-1DB6-4A08-99AF-4377943AB26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64361" y="4361044"/>
            <a:ext cx="1472248" cy="1729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81279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2">
          <p15:clr>
            <a:srgbClr val="FBAE40"/>
          </p15:clr>
        </p15:guide>
        <p15:guide id="3" orient="horz" pos="2546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ОбложкаФото1_ENG">
    <p:bg>
      <p:bgPr>
        <a:solidFill>
          <a:srgbClr val="4096C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48DA10CC-0CB7-4EE0-BB0A-21E52EBD950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30000"/>
                    </a14:imgEffect>
                    <a14:imgEffect>
                      <a14:saturation sat="39000"/>
                    </a14:imgEffect>
                    <a14:imgEffect>
                      <a14:brightnessContrast bright="13000" contrast="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4380" b="7535"/>
          <a:stretch/>
        </p:blipFill>
        <p:spPr>
          <a:xfrm flipH="1">
            <a:off x="-13922" y="116375"/>
            <a:ext cx="12205922" cy="3789959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6230FF37-EB31-41CA-BC45-24B8D35D4CF5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67036" y="4367360"/>
            <a:ext cx="1472248" cy="1729569"/>
          </a:xfrm>
          <a:prstGeom prst="rect">
            <a:avLst/>
          </a:prstGeom>
        </p:spPr>
      </p:pic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84533F12-6317-448B-A050-F96B1463A6AB}"/>
              </a:ext>
            </a:extLst>
          </p:cNvPr>
          <p:cNvCxnSpPr>
            <a:cxnSpLocks/>
          </p:cNvCxnSpPr>
          <p:nvPr/>
        </p:nvCxnSpPr>
        <p:spPr>
          <a:xfrm>
            <a:off x="2393931" y="5400384"/>
            <a:ext cx="9036000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025E3B16-64ED-44E0-B13F-1C9FDB1016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93931" y="4097798"/>
            <a:ext cx="9033708" cy="12352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lnSpc>
                <a:spcPct val="100000"/>
              </a:lnSpc>
              <a:defRPr sz="30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EL OF PRESENTATION</a:t>
            </a:r>
            <a:endParaRPr lang="ru-RU" dirty="0"/>
          </a:p>
        </p:txBody>
      </p:sp>
      <p:sp>
        <p:nvSpPr>
          <p:cNvPr id="19" name="Текст 41">
            <a:extLst>
              <a:ext uri="{FF2B5EF4-FFF2-40B4-BE49-F238E27FC236}">
                <a16:creationId xmlns:a16="http://schemas.microsoft.com/office/drawing/2014/main" id="{D4ACE49F-6377-4D09-887D-C2030C596E8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81947" y="5491942"/>
            <a:ext cx="5504450" cy="407414"/>
          </a:xfrm>
        </p:spPr>
        <p:txBody>
          <a:bodyPr/>
          <a:lstStyle>
            <a:lvl1pPr algn="r">
              <a:buFontTx/>
              <a:buNone/>
              <a:defRPr lang="ru-RU" sz="1700" kern="1200" dirty="0" smtClean="0">
                <a:solidFill>
                  <a:srgbClr val="D9DBDD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algn="r">
              <a:lnSpc>
                <a:spcPts val="2200"/>
              </a:lnSpc>
            </a:pPr>
            <a:r>
              <a:rPr lang="ru-RU" dirty="0">
                <a:solidFill>
                  <a:srgbClr val="D9DBD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Имя Спикера</a:t>
            </a:r>
          </a:p>
        </p:txBody>
      </p:sp>
      <p:sp>
        <p:nvSpPr>
          <p:cNvPr id="21" name="Текст 41">
            <a:extLst>
              <a:ext uri="{FF2B5EF4-FFF2-40B4-BE49-F238E27FC236}">
                <a16:creationId xmlns:a16="http://schemas.microsoft.com/office/drawing/2014/main" id="{7AA52F83-A220-47C3-96AE-E95E35A8EB9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81947" y="5920122"/>
            <a:ext cx="5504450" cy="407414"/>
          </a:xfrm>
        </p:spPr>
        <p:txBody>
          <a:bodyPr/>
          <a:lstStyle>
            <a:lvl1pPr algn="r">
              <a:buFontTx/>
              <a:buNone/>
              <a:defRPr lang="ru-RU" sz="1100" kern="1200" dirty="0" smtClean="0">
                <a:solidFill>
                  <a:schemeClr val="bg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algn="r">
              <a:lnSpc>
                <a:spcPts val="2200"/>
              </a:lnSpc>
            </a:pPr>
            <a:r>
              <a:rPr lang="ru-RU" dirty="0">
                <a:solidFill>
                  <a:srgbClr val="D9DBD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Москва, 2020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2985FF08-3EA9-49CF-87DD-52F52A0A93E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23532" y="0"/>
            <a:ext cx="12315532" cy="3906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04083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2">
          <p15:clr>
            <a:srgbClr val="FBAE40"/>
          </p15:clr>
        </p15:guide>
        <p15:guide id="3" orient="horz" pos="2546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ОбложкаФото2_RUS">
    <p:bg>
      <p:bgPr>
        <a:solidFill>
          <a:srgbClr val="DF262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84533F12-6317-448B-A050-F96B1463A6AB}"/>
              </a:ext>
            </a:extLst>
          </p:cNvPr>
          <p:cNvCxnSpPr>
            <a:cxnSpLocks/>
          </p:cNvCxnSpPr>
          <p:nvPr/>
        </p:nvCxnSpPr>
        <p:spPr>
          <a:xfrm>
            <a:off x="2393931" y="5400384"/>
            <a:ext cx="9036000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6903EF04-CD90-474C-B3AC-1571C942F6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93931" y="4097798"/>
            <a:ext cx="9033708" cy="12352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lnSpc>
                <a:spcPct val="100000"/>
              </a:lnSpc>
              <a:defRPr sz="3000" cap="all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Заголовок презентации</a:t>
            </a:r>
          </a:p>
        </p:txBody>
      </p:sp>
      <p:sp>
        <p:nvSpPr>
          <p:cNvPr id="18" name="Текст 41">
            <a:extLst>
              <a:ext uri="{FF2B5EF4-FFF2-40B4-BE49-F238E27FC236}">
                <a16:creationId xmlns:a16="http://schemas.microsoft.com/office/drawing/2014/main" id="{ADA112E8-B783-4FD1-AE03-4953EB736B9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81947" y="5491942"/>
            <a:ext cx="5504450" cy="407414"/>
          </a:xfrm>
        </p:spPr>
        <p:txBody>
          <a:bodyPr/>
          <a:lstStyle>
            <a:lvl1pPr algn="r">
              <a:buFontTx/>
              <a:buNone/>
              <a:defRPr lang="ru-RU" sz="1700" kern="1200" dirty="0" smtClean="0">
                <a:solidFill>
                  <a:srgbClr val="D9DBDD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algn="r">
              <a:lnSpc>
                <a:spcPts val="2200"/>
              </a:lnSpc>
            </a:pPr>
            <a:r>
              <a:rPr lang="ru-RU" dirty="0">
                <a:solidFill>
                  <a:srgbClr val="D9DBD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Имя Спикера</a:t>
            </a:r>
          </a:p>
        </p:txBody>
      </p:sp>
      <p:sp>
        <p:nvSpPr>
          <p:cNvPr id="19" name="Текст 41">
            <a:extLst>
              <a:ext uri="{FF2B5EF4-FFF2-40B4-BE49-F238E27FC236}">
                <a16:creationId xmlns:a16="http://schemas.microsoft.com/office/drawing/2014/main" id="{D9D5139C-FC67-486A-A61D-568E3E9B0FA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81947" y="5920122"/>
            <a:ext cx="5504450" cy="407414"/>
          </a:xfrm>
        </p:spPr>
        <p:txBody>
          <a:bodyPr/>
          <a:lstStyle>
            <a:lvl1pPr algn="r">
              <a:buFontTx/>
              <a:buNone/>
              <a:defRPr lang="ru-RU" sz="1100" kern="1200" dirty="0" smtClean="0">
                <a:solidFill>
                  <a:schemeClr val="bg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algn="r">
              <a:lnSpc>
                <a:spcPts val="2200"/>
              </a:lnSpc>
            </a:pPr>
            <a:r>
              <a:rPr lang="ru-RU" dirty="0">
                <a:solidFill>
                  <a:srgbClr val="D9DBD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Москва, 2020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14CF7645-FAEB-48DA-B90D-3E58DCE85B9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0" y="220985"/>
            <a:ext cx="12178078" cy="383744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E14B5B78-DE3A-43E7-AB65-D23B669778B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3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955"/>
          <a:stretch/>
        </p:blipFill>
        <p:spPr>
          <a:xfrm>
            <a:off x="-16627" y="220984"/>
            <a:ext cx="12220139" cy="3697081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D0BEABA6-893E-4384-B22A-322F4E8A601C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23532" y="0"/>
            <a:ext cx="12333342" cy="3918065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EF3E790E-1D81-4C0F-8467-9B1988C5AE63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64361" y="4361044"/>
            <a:ext cx="1472248" cy="1729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67565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ОбложкаФото2_RUS">
    <p:bg>
      <p:bgPr>
        <a:solidFill>
          <a:srgbClr val="4096C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84533F12-6317-448B-A050-F96B1463A6AB}"/>
              </a:ext>
            </a:extLst>
          </p:cNvPr>
          <p:cNvCxnSpPr>
            <a:cxnSpLocks/>
          </p:cNvCxnSpPr>
          <p:nvPr/>
        </p:nvCxnSpPr>
        <p:spPr>
          <a:xfrm>
            <a:off x="2393931" y="5400384"/>
            <a:ext cx="9036000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6903EF04-CD90-474C-B3AC-1571C942F6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93931" y="4097798"/>
            <a:ext cx="9033708" cy="12352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lnSpc>
                <a:spcPct val="100000"/>
              </a:lnSpc>
              <a:defRPr sz="3000" cap="all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Заголовок презентации</a:t>
            </a:r>
          </a:p>
        </p:txBody>
      </p:sp>
      <p:sp>
        <p:nvSpPr>
          <p:cNvPr id="18" name="Текст 41">
            <a:extLst>
              <a:ext uri="{FF2B5EF4-FFF2-40B4-BE49-F238E27FC236}">
                <a16:creationId xmlns:a16="http://schemas.microsoft.com/office/drawing/2014/main" id="{ADA112E8-B783-4FD1-AE03-4953EB736B9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81947" y="5491942"/>
            <a:ext cx="5504450" cy="407414"/>
          </a:xfrm>
        </p:spPr>
        <p:txBody>
          <a:bodyPr/>
          <a:lstStyle>
            <a:lvl1pPr algn="r">
              <a:buFontTx/>
              <a:buNone/>
              <a:defRPr lang="ru-RU" sz="1700" kern="1200" dirty="0" smtClean="0">
                <a:solidFill>
                  <a:srgbClr val="D9DBDD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algn="r">
              <a:lnSpc>
                <a:spcPts val="2200"/>
              </a:lnSpc>
            </a:pPr>
            <a:r>
              <a:rPr lang="ru-RU" dirty="0">
                <a:solidFill>
                  <a:srgbClr val="D9DBD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Имя Спикера</a:t>
            </a:r>
          </a:p>
        </p:txBody>
      </p:sp>
      <p:sp>
        <p:nvSpPr>
          <p:cNvPr id="19" name="Текст 41">
            <a:extLst>
              <a:ext uri="{FF2B5EF4-FFF2-40B4-BE49-F238E27FC236}">
                <a16:creationId xmlns:a16="http://schemas.microsoft.com/office/drawing/2014/main" id="{D9D5139C-FC67-486A-A61D-568E3E9B0FA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81947" y="5920122"/>
            <a:ext cx="5504450" cy="407414"/>
          </a:xfrm>
        </p:spPr>
        <p:txBody>
          <a:bodyPr/>
          <a:lstStyle>
            <a:lvl1pPr algn="r">
              <a:buFontTx/>
              <a:buNone/>
              <a:defRPr lang="ru-RU" sz="1100" kern="1200" dirty="0" smtClean="0">
                <a:solidFill>
                  <a:schemeClr val="bg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algn="r">
              <a:lnSpc>
                <a:spcPts val="2200"/>
              </a:lnSpc>
            </a:pPr>
            <a:r>
              <a:rPr lang="ru-RU" dirty="0">
                <a:solidFill>
                  <a:srgbClr val="D9DBD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Москва, 2020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E14B5B78-DE3A-43E7-AB65-D23B669778B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955"/>
          <a:stretch/>
        </p:blipFill>
        <p:spPr>
          <a:xfrm>
            <a:off x="-16627" y="220984"/>
            <a:ext cx="12220139" cy="3697081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D0BEABA6-893E-4384-B22A-322F4E8A601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23532" y="0"/>
            <a:ext cx="12333342" cy="3918065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EF3E790E-1D81-4C0F-8467-9B1988C5AE63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64361" y="4361044"/>
            <a:ext cx="1472248" cy="1729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572691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Фото2_ENG">
    <p:bg>
      <p:bgPr>
        <a:solidFill>
          <a:srgbClr val="DF262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6230FF37-EB31-41CA-BC45-24B8D35D4CF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67036" y="4367360"/>
            <a:ext cx="1472248" cy="1729569"/>
          </a:xfrm>
          <a:prstGeom prst="rect">
            <a:avLst/>
          </a:prstGeom>
        </p:spPr>
      </p:pic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84533F12-6317-448B-A050-F96B1463A6AB}"/>
              </a:ext>
            </a:extLst>
          </p:cNvPr>
          <p:cNvCxnSpPr>
            <a:cxnSpLocks/>
          </p:cNvCxnSpPr>
          <p:nvPr/>
        </p:nvCxnSpPr>
        <p:spPr>
          <a:xfrm>
            <a:off x="2393931" y="5400384"/>
            <a:ext cx="9036000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6903EF04-CD90-474C-B3AC-1571C942F6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93931" y="4097798"/>
            <a:ext cx="9033708" cy="12352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lnSpc>
                <a:spcPct val="100000"/>
              </a:lnSpc>
              <a:defRPr sz="30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EL OF PRESENTATION</a:t>
            </a:r>
            <a:endParaRPr lang="ru-RU" dirty="0"/>
          </a:p>
        </p:txBody>
      </p:sp>
      <p:sp>
        <p:nvSpPr>
          <p:cNvPr id="18" name="Текст 41">
            <a:extLst>
              <a:ext uri="{FF2B5EF4-FFF2-40B4-BE49-F238E27FC236}">
                <a16:creationId xmlns:a16="http://schemas.microsoft.com/office/drawing/2014/main" id="{ADA112E8-B783-4FD1-AE03-4953EB736B9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81947" y="5491942"/>
            <a:ext cx="5504450" cy="407414"/>
          </a:xfrm>
        </p:spPr>
        <p:txBody>
          <a:bodyPr/>
          <a:lstStyle>
            <a:lvl1pPr algn="r">
              <a:buFontTx/>
              <a:buNone/>
              <a:defRPr lang="ru-RU" sz="1700" kern="1200" dirty="0" smtClean="0">
                <a:solidFill>
                  <a:srgbClr val="D9DBDD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algn="r">
              <a:lnSpc>
                <a:spcPts val="2200"/>
              </a:lnSpc>
            </a:pPr>
            <a:r>
              <a:rPr lang="ru-RU" dirty="0">
                <a:solidFill>
                  <a:srgbClr val="D9DBD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Имя Спикера</a:t>
            </a:r>
          </a:p>
        </p:txBody>
      </p:sp>
      <p:sp>
        <p:nvSpPr>
          <p:cNvPr id="19" name="Текст 41">
            <a:extLst>
              <a:ext uri="{FF2B5EF4-FFF2-40B4-BE49-F238E27FC236}">
                <a16:creationId xmlns:a16="http://schemas.microsoft.com/office/drawing/2014/main" id="{D9D5139C-FC67-486A-A61D-568E3E9B0FA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81947" y="5920122"/>
            <a:ext cx="5504450" cy="407414"/>
          </a:xfrm>
        </p:spPr>
        <p:txBody>
          <a:bodyPr/>
          <a:lstStyle>
            <a:lvl1pPr algn="r">
              <a:buFontTx/>
              <a:buNone/>
              <a:defRPr lang="ru-RU" sz="1100" kern="1200" dirty="0" smtClean="0">
                <a:solidFill>
                  <a:schemeClr val="bg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algn="r">
              <a:lnSpc>
                <a:spcPts val="2200"/>
              </a:lnSpc>
            </a:pPr>
            <a:r>
              <a:rPr lang="ru-RU" dirty="0">
                <a:solidFill>
                  <a:srgbClr val="D9DBD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Москва, 2020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14CF7645-FAEB-48DA-B90D-3E58DCE85B9C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V="1">
            <a:off x="0" y="220985"/>
            <a:ext cx="12178078" cy="383744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E14B5B78-DE3A-43E7-AB65-D23B669778B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3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955"/>
          <a:stretch/>
        </p:blipFill>
        <p:spPr>
          <a:xfrm>
            <a:off x="-16627" y="220984"/>
            <a:ext cx="12220139" cy="3697081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D0BEABA6-893E-4384-B22A-322F4E8A601C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23532" y="0"/>
            <a:ext cx="12333342" cy="3918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72900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Изображение 4" descr="IIDF-Kursy-Fon-2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Номер слайда 3"/>
          <p:cNvSpPr txBox="1">
            <a:spLocks/>
          </p:cNvSpPr>
          <p:nvPr/>
        </p:nvSpPr>
        <p:spPr>
          <a:xfrm>
            <a:off x="11438205" y="6354885"/>
            <a:ext cx="508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457200" rtl="0" eaLnBrk="1" latinLnBrk="0" hangingPunct="1"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09E014B-297B-4575-BDFD-607BFF17BAB8}" type="slidenum">
              <a:rPr lang="ru-RU" sz="1000" smtClean="0">
                <a:solidFill>
                  <a:schemeClr val="bg1"/>
                </a:solidFill>
              </a:rPr>
              <a:pPr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0629771" y="260784"/>
            <a:ext cx="1264355" cy="405412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65F2260B-3D43-F744-83BB-B35E5A1A8A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6015894"/>
      </p:ext>
    </p:extLst>
  </p:cSld>
  <p:clrMapOvr>
    <a:masterClrMapping/>
  </p:clrMapOvr>
  <p:hf hdr="0" ftr="0" dt="0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Текстовый слайд_RUS">
    <p:bg>
      <p:bgPr>
        <a:gradFill>
          <a:gsLst>
            <a:gs pos="0">
              <a:schemeClr val="bg1"/>
            </a:gs>
            <a:gs pos="100000">
              <a:srgbClr val="EAEAEA"/>
            </a:gs>
          </a:gsLst>
          <a:lin ang="4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F3B756D3-F027-4873-B4A6-10EC9518DC0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61306" y="4177145"/>
            <a:ext cx="6530706" cy="2680855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5C4FADB9-E031-41E9-BE52-4AD54BC3EC5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5448" y="5428230"/>
            <a:ext cx="1083202" cy="1269513"/>
          </a:xfrm>
          <a:prstGeom prst="rect">
            <a:avLst/>
          </a:prstGeom>
        </p:spPr>
      </p:pic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EF95A857-BEDD-4B71-9BC2-7637F71352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56833" y="6250397"/>
            <a:ext cx="2743200" cy="365125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0519701F-51F7-428B-AA3A-0B5D731C629E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376463B9-8069-453B-83B9-E7BE689ED4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694" y="371102"/>
            <a:ext cx="10895106" cy="1021416"/>
          </a:xfrm>
        </p:spPr>
        <p:txBody>
          <a:bodyPr anchor="t" anchorCtr="0"/>
          <a:lstStyle>
            <a:lvl1pPr>
              <a:defRPr sz="3000">
                <a:solidFill>
                  <a:srgbClr val="DF2626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0" name="Объект 2">
            <a:extLst>
              <a:ext uri="{FF2B5EF4-FFF2-40B4-BE49-F238E27FC236}">
                <a16:creationId xmlns:a16="http://schemas.microsoft.com/office/drawing/2014/main" id="{8DEA2143-F504-4901-957B-6DC1D3BBC30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85693" y="1995956"/>
            <a:ext cx="5166177" cy="2744694"/>
          </a:xfrm>
        </p:spPr>
        <p:txBody>
          <a:bodyPr>
            <a:noAutofit/>
          </a:bodyPr>
          <a:lstStyle>
            <a:lvl1pPr marL="0" indent="0" algn="just">
              <a:lnSpc>
                <a:spcPct val="100000"/>
              </a:lnSpc>
              <a:spcBef>
                <a:spcPts val="1500"/>
              </a:spcBef>
              <a:buClr>
                <a:srgbClr val="2877B2"/>
              </a:buClr>
              <a:buFont typeface="Wingdings" panose="05000000000000000000" pitchFamily="2" charset="2"/>
              <a:buNone/>
              <a:defRPr sz="1200" baseline="0"/>
            </a:lvl1pPr>
            <a:lvl2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2pPr>
            <a:lvl3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3pPr>
            <a:lvl4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4pPr>
            <a:lvl5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5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>
                <a:srgbClr val="2877B2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ru-RU" dirty="0"/>
              <a:t>Национальная ассоциация трансфера технологий создана в мае 2017 года негосударственным институтом развития «</a:t>
            </a:r>
            <a:r>
              <a:rPr lang="ru-RU" dirty="0" err="1"/>
              <a:t>Иннопрактика</a:t>
            </a:r>
            <a:r>
              <a:rPr lang="ru-RU" dirty="0"/>
              <a:t>» и Федеральной службой по интеллектуальной собственности (Роспатент) с целью содействия реализации Стратегии научно-технологического развития РФ. Ассоциация представляет собой многофункциональную коммуникативную площадку, осуществляющую образовательную, просветительскую и консультационную деятельность в области трансфера технологий. </a:t>
            </a:r>
          </a:p>
        </p:txBody>
      </p:sp>
      <p:sp>
        <p:nvSpPr>
          <p:cNvPr id="11" name="Объект 2">
            <a:extLst>
              <a:ext uri="{FF2B5EF4-FFF2-40B4-BE49-F238E27FC236}">
                <a16:creationId xmlns:a16="http://schemas.microsoft.com/office/drawing/2014/main" id="{F994182C-542C-4FBB-8AB1-A06C6565B2D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85694" y="1545016"/>
            <a:ext cx="10895106" cy="33029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1500"/>
              </a:spcBef>
              <a:buClr>
                <a:srgbClr val="2877B2"/>
              </a:buClr>
              <a:buFont typeface="Wingdings" panose="05000000000000000000" pitchFamily="2" charset="2"/>
              <a:buNone/>
              <a:defRPr sz="1600" b="0" baseline="0"/>
            </a:lvl1pPr>
            <a:lvl2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2pPr>
            <a:lvl3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3pPr>
            <a:lvl4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4pPr>
            <a:lvl5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5pPr>
          </a:lstStyle>
          <a:p>
            <a:r>
              <a:rPr lang="ru-RU" dirty="0"/>
              <a:t>Подзаголовок</a:t>
            </a:r>
          </a:p>
        </p:txBody>
      </p:sp>
      <p:sp>
        <p:nvSpPr>
          <p:cNvPr id="12" name="Объект 2">
            <a:extLst>
              <a:ext uri="{FF2B5EF4-FFF2-40B4-BE49-F238E27FC236}">
                <a16:creationId xmlns:a16="http://schemas.microsoft.com/office/drawing/2014/main" id="{82FD41D1-4FC7-4DBD-BA65-D7121E3E919C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018014" y="1995956"/>
            <a:ext cx="5462785" cy="274469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500"/>
              </a:spcBef>
              <a:buClr>
                <a:srgbClr val="2877B2"/>
              </a:buClr>
              <a:buFont typeface="Wingdings" panose="05000000000000000000" pitchFamily="2" charset="2"/>
              <a:buNone/>
              <a:defRPr sz="1200" baseline="0"/>
            </a:lvl1pPr>
            <a:lvl2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2pPr>
            <a:lvl3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3pPr>
            <a:lvl4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4pPr>
            <a:lvl5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5pPr>
          </a:lstStyle>
          <a:p>
            <a:r>
              <a:rPr lang="ru-RU" dirty="0"/>
              <a:t>Миссия НАТТ – объединение участников процесса трансфера технологий для налаживания взаимовыгодного сотрудничества и повышения их профессионального уровня. Ключевым преимуществом НАТТ является коллективный поиск решений по усовершенствованию процесса трансфера технологий всеми заинтересованными участниками. 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4273457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!">
    <p:bg>
      <p:bgPr>
        <a:gradFill>
          <a:gsLst>
            <a:gs pos="0">
              <a:schemeClr val="bg1"/>
            </a:gs>
            <a:gs pos="100000">
              <a:srgbClr val="EAEAEA"/>
            </a:gs>
          </a:gsLst>
          <a:lin ang="4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376463B9-8069-453B-83B9-E7BE689ED4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694" y="371102"/>
            <a:ext cx="10895106" cy="1021416"/>
          </a:xfrm>
        </p:spPr>
        <p:txBody>
          <a:bodyPr anchor="t" anchorCtr="0"/>
          <a:lstStyle>
            <a:lvl1pPr>
              <a:defRPr sz="3000">
                <a:solidFill>
                  <a:srgbClr val="DF2626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0" name="Объект 2">
            <a:extLst>
              <a:ext uri="{FF2B5EF4-FFF2-40B4-BE49-F238E27FC236}">
                <a16:creationId xmlns:a16="http://schemas.microsoft.com/office/drawing/2014/main" id="{8DEA2143-F504-4901-957B-6DC1D3BBC30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85693" y="1995956"/>
            <a:ext cx="5166177" cy="2744694"/>
          </a:xfrm>
        </p:spPr>
        <p:txBody>
          <a:bodyPr>
            <a:noAutofit/>
          </a:bodyPr>
          <a:lstStyle>
            <a:lvl1pPr marL="0" indent="0" algn="just">
              <a:lnSpc>
                <a:spcPct val="100000"/>
              </a:lnSpc>
              <a:spcBef>
                <a:spcPts val="1500"/>
              </a:spcBef>
              <a:buClr>
                <a:srgbClr val="2877B2"/>
              </a:buClr>
              <a:buFont typeface="Wingdings" panose="05000000000000000000" pitchFamily="2" charset="2"/>
              <a:buNone/>
              <a:defRPr sz="1200" baseline="0"/>
            </a:lvl1pPr>
            <a:lvl2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2pPr>
            <a:lvl3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3pPr>
            <a:lvl4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4pPr>
            <a:lvl5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5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>
                <a:srgbClr val="2877B2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ru-RU" dirty="0"/>
              <a:t>Национальная ассоциация трансфера технологий создана в мае 2017 года негосударственным институтом развития «</a:t>
            </a:r>
            <a:r>
              <a:rPr lang="ru-RU" dirty="0" err="1"/>
              <a:t>Иннопрактика</a:t>
            </a:r>
            <a:r>
              <a:rPr lang="ru-RU" dirty="0"/>
              <a:t>» и Федеральной службой по интеллектуальной собственности (Роспатент) с целью содействия реализации Стратегии научно-технологического развития РФ. Ассоциация представляет собой многофункциональную коммуникативную площадку, осуществляющую образовательную, просветительскую и консультационную деятельность в области трансфера технологий. </a:t>
            </a:r>
          </a:p>
        </p:txBody>
      </p:sp>
      <p:sp>
        <p:nvSpPr>
          <p:cNvPr id="11" name="Объект 2">
            <a:extLst>
              <a:ext uri="{FF2B5EF4-FFF2-40B4-BE49-F238E27FC236}">
                <a16:creationId xmlns:a16="http://schemas.microsoft.com/office/drawing/2014/main" id="{F994182C-542C-4FBB-8AB1-A06C6565B2D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85694" y="1545016"/>
            <a:ext cx="10895106" cy="33029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1500"/>
              </a:spcBef>
              <a:buClr>
                <a:srgbClr val="2877B2"/>
              </a:buClr>
              <a:buFont typeface="Wingdings" panose="05000000000000000000" pitchFamily="2" charset="2"/>
              <a:buNone/>
              <a:defRPr sz="1600" b="0" baseline="0"/>
            </a:lvl1pPr>
            <a:lvl2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2pPr>
            <a:lvl3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3pPr>
            <a:lvl4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4pPr>
            <a:lvl5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5pPr>
          </a:lstStyle>
          <a:p>
            <a:r>
              <a:rPr lang="ru-RU" dirty="0"/>
              <a:t>Подзаголовок</a:t>
            </a:r>
          </a:p>
        </p:txBody>
      </p:sp>
      <p:sp>
        <p:nvSpPr>
          <p:cNvPr id="12" name="Объект 2">
            <a:extLst>
              <a:ext uri="{FF2B5EF4-FFF2-40B4-BE49-F238E27FC236}">
                <a16:creationId xmlns:a16="http://schemas.microsoft.com/office/drawing/2014/main" id="{82FD41D1-4FC7-4DBD-BA65-D7121E3E919C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018014" y="1995956"/>
            <a:ext cx="5462785" cy="274469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500"/>
              </a:spcBef>
              <a:buClr>
                <a:srgbClr val="2877B2"/>
              </a:buClr>
              <a:buFont typeface="Wingdings" panose="05000000000000000000" pitchFamily="2" charset="2"/>
              <a:buNone/>
              <a:defRPr sz="1200" baseline="0"/>
            </a:lvl1pPr>
            <a:lvl2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2pPr>
            <a:lvl3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3pPr>
            <a:lvl4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4pPr>
            <a:lvl5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5pPr>
          </a:lstStyle>
          <a:p>
            <a:r>
              <a:rPr lang="ru-RU" dirty="0"/>
              <a:t>Миссия НАТТ – объединение участников процесса трансфера технологий для налаживания взаимовыгодного сотрудничества и повышения их профессионального уровня. Ключевым преимуществом НАТТ является коллективный поиск решений по усовершенствованию процесса трансфера технологий всеми заинтересованными участниками. </a:t>
            </a:r>
          </a:p>
          <a:p>
            <a:endParaRPr lang="ru-RU" dirty="0"/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60738618-ACD9-435B-B1B3-1E0CC7214F0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88716" y="4475747"/>
            <a:ext cx="5803296" cy="2382253"/>
          </a:xfrm>
          <a:prstGeom prst="rect">
            <a:avLst/>
          </a:prstGeom>
        </p:spPr>
      </p:pic>
      <p:sp>
        <p:nvSpPr>
          <p:cNvPr id="14" name="Номер слайда 3">
            <a:extLst>
              <a:ext uri="{FF2B5EF4-FFF2-40B4-BE49-F238E27FC236}">
                <a16:creationId xmlns:a16="http://schemas.microsoft.com/office/drawing/2014/main" id="{292E30BE-E368-4D18-89AA-E3F50269C4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56833" y="6250397"/>
            <a:ext cx="2743200" cy="365125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0519701F-51F7-428B-AA3A-0B5D731C629E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D49886B4-7EAA-483B-AF4F-F9F9CE665AF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82397" y="5871820"/>
            <a:ext cx="886533" cy="829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133385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Текстовый слайд_ENG">
    <p:bg>
      <p:bgPr>
        <a:gradFill>
          <a:gsLst>
            <a:gs pos="0">
              <a:schemeClr val="bg1"/>
            </a:gs>
            <a:gs pos="100000">
              <a:srgbClr val="EAEAEA"/>
            </a:gs>
          </a:gsLst>
          <a:lin ang="4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F3B756D3-F027-4873-B4A6-10EC9518DC0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61306" y="4177145"/>
            <a:ext cx="6530706" cy="2680855"/>
          </a:xfrm>
          <a:prstGeom prst="rect">
            <a:avLst/>
          </a:prstGeom>
        </p:spPr>
      </p:pic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EF95A857-BEDD-4B71-9BC2-7637F71352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56833" y="6250397"/>
            <a:ext cx="2743200" cy="365125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0519701F-51F7-428B-AA3A-0B5D731C629E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376463B9-8069-453B-83B9-E7BE689ED4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5694" y="371102"/>
            <a:ext cx="10895106" cy="1021416"/>
          </a:xfrm>
        </p:spPr>
        <p:txBody>
          <a:bodyPr anchor="t" anchorCtr="0"/>
          <a:lstStyle>
            <a:lvl1pPr>
              <a:defRPr sz="3000">
                <a:solidFill>
                  <a:srgbClr val="DF2626"/>
                </a:solidFill>
              </a:defRPr>
            </a:lvl1pPr>
          </a:lstStyle>
          <a:p>
            <a:r>
              <a:rPr lang="en-US" dirty="0"/>
              <a:t>Russian National Association </a:t>
            </a:r>
            <a:br>
              <a:rPr lang="en-US" dirty="0"/>
            </a:br>
            <a:r>
              <a:rPr lang="en-US" dirty="0"/>
              <a:t>of Technology Transfer</a:t>
            </a:r>
            <a:endParaRPr lang="ru-RU" dirty="0"/>
          </a:p>
        </p:txBody>
      </p:sp>
      <p:sp>
        <p:nvSpPr>
          <p:cNvPr id="10" name="Объект 2">
            <a:extLst>
              <a:ext uri="{FF2B5EF4-FFF2-40B4-BE49-F238E27FC236}">
                <a16:creationId xmlns:a16="http://schemas.microsoft.com/office/drawing/2014/main" id="{8DEA2143-F504-4901-957B-6DC1D3BBC30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85693" y="1995956"/>
            <a:ext cx="5166177" cy="2744694"/>
          </a:xfrm>
        </p:spPr>
        <p:txBody>
          <a:bodyPr>
            <a:noAutofit/>
          </a:bodyPr>
          <a:lstStyle>
            <a:lvl1pPr marL="0" indent="0" algn="just">
              <a:lnSpc>
                <a:spcPct val="100000"/>
              </a:lnSpc>
              <a:spcBef>
                <a:spcPts val="1500"/>
              </a:spcBef>
              <a:buClr>
                <a:srgbClr val="2877B2"/>
              </a:buClr>
              <a:buFont typeface="Wingdings" panose="05000000000000000000" pitchFamily="2" charset="2"/>
              <a:buNone/>
              <a:defRPr sz="1200" baseline="0"/>
            </a:lvl1pPr>
            <a:lvl2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2pPr>
            <a:lvl3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3pPr>
            <a:lvl4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4pPr>
            <a:lvl5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5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>
                <a:srgbClr val="2877B2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ru-RU" dirty="0"/>
              <a:t>Национальная ассоциация трансфера технологий создана в мае 2017 года негосударственным институтом развития «</a:t>
            </a:r>
            <a:r>
              <a:rPr lang="ru-RU" dirty="0" err="1"/>
              <a:t>Иннопрактика</a:t>
            </a:r>
            <a:r>
              <a:rPr lang="ru-RU" dirty="0"/>
              <a:t>» и Федеральной службой по интеллектуальной собственности (Роспатент) с целью содействия реализации Стратегии научно-технологического развития РФ. Ассоциация представляет собой многофункциональную коммуникативную площадку, осуществляющую образовательную, просветительскую и консультационную деятельность в области трансфера технологий. </a:t>
            </a:r>
          </a:p>
        </p:txBody>
      </p:sp>
      <p:sp>
        <p:nvSpPr>
          <p:cNvPr id="11" name="Объект 2">
            <a:extLst>
              <a:ext uri="{FF2B5EF4-FFF2-40B4-BE49-F238E27FC236}">
                <a16:creationId xmlns:a16="http://schemas.microsoft.com/office/drawing/2014/main" id="{F994182C-542C-4FBB-8AB1-A06C6565B2D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85694" y="1545016"/>
            <a:ext cx="10895106" cy="33029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1500"/>
              </a:spcBef>
              <a:buClr>
                <a:srgbClr val="2877B2"/>
              </a:buClr>
              <a:buFont typeface="Wingdings" panose="05000000000000000000" pitchFamily="2" charset="2"/>
              <a:buNone/>
              <a:defRPr sz="1600" b="0" baseline="0"/>
            </a:lvl1pPr>
            <a:lvl2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2pPr>
            <a:lvl3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3pPr>
            <a:lvl4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4pPr>
            <a:lvl5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5pPr>
          </a:lstStyle>
          <a:p>
            <a:r>
              <a:rPr lang="en-US" dirty="0"/>
              <a:t>Russian National Association of Technology Transfer</a:t>
            </a:r>
            <a:endParaRPr lang="ru-RU" dirty="0"/>
          </a:p>
        </p:txBody>
      </p:sp>
      <p:sp>
        <p:nvSpPr>
          <p:cNvPr id="12" name="Объект 2">
            <a:extLst>
              <a:ext uri="{FF2B5EF4-FFF2-40B4-BE49-F238E27FC236}">
                <a16:creationId xmlns:a16="http://schemas.microsoft.com/office/drawing/2014/main" id="{82FD41D1-4FC7-4DBD-BA65-D7121E3E919C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018014" y="1995956"/>
            <a:ext cx="5462785" cy="274469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500"/>
              </a:spcBef>
              <a:buClr>
                <a:srgbClr val="2877B2"/>
              </a:buClr>
              <a:buFont typeface="Wingdings" panose="05000000000000000000" pitchFamily="2" charset="2"/>
              <a:buNone/>
              <a:defRPr sz="1200" baseline="0"/>
            </a:lvl1pPr>
            <a:lvl2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2pPr>
            <a:lvl3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3pPr>
            <a:lvl4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4pPr>
            <a:lvl5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5pPr>
          </a:lstStyle>
          <a:p>
            <a:r>
              <a:rPr lang="ru-RU" dirty="0"/>
              <a:t>Миссия НАТТ – объединение участников процесса трансфера технологий для налаживания взаимовыгодного сотрудничества и повышения их профессионального уровня. Ключевым преимуществом НАТТ является коллективный поиск решений по усовершенствованию процесса трансфера технологий всеми заинтересованными участниками. </a:t>
            </a:r>
          </a:p>
          <a:p>
            <a:endParaRPr lang="ru-RU" dirty="0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5261E1C-E3E4-4DE9-99BD-E803D02BCD4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188" y="5408174"/>
            <a:ext cx="1146582" cy="132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33418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писки">
    <p:bg>
      <p:bgPr>
        <a:gradFill>
          <a:gsLst>
            <a:gs pos="0">
              <a:schemeClr val="bg1"/>
            </a:gs>
            <a:gs pos="100000">
              <a:srgbClr val="EAEAEA"/>
            </a:gs>
          </a:gsLst>
          <a:lin ang="4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5C4FADB9-E031-41E9-BE52-4AD54BC3EC5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5448" y="5428230"/>
            <a:ext cx="1083202" cy="1269513"/>
          </a:xfrm>
          <a:prstGeom prst="rect">
            <a:avLst/>
          </a:prstGeom>
        </p:spPr>
      </p:pic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376463B9-8069-453B-83B9-E7BE689ED4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694" y="371102"/>
            <a:ext cx="10895106" cy="1021416"/>
          </a:xfrm>
        </p:spPr>
        <p:txBody>
          <a:bodyPr anchor="t" anchorCtr="0"/>
          <a:lstStyle>
            <a:lvl1pPr>
              <a:defRPr sz="3000">
                <a:solidFill>
                  <a:srgbClr val="DF2626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D0C37EF7-1054-4B25-9F8C-C46998F4F55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61306" y="4177145"/>
            <a:ext cx="6530706" cy="2680855"/>
          </a:xfrm>
          <a:prstGeom prst="rect">
            <a:avLst/>
          </a:prstGeom>
        </p:spPr>
      </p:pic>
      <p:sp>
        <p:nvSpPr>
          <p:cNvPr id="8" name="Номер слайда 3">
            <a:extLst>
              <a:ext uri="{FF2B5EF4-FFF2-40B4-BE49-F238E27FC236}">
                <a16:creationId xmlns:a16="http://schemas.microsoft.com/office/drawing/2014/main" id="{C70517FC-5879-49D8-89E3-B772905F9E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56833" y="6250397"/>
            <a:ext cx="2743200" cy="365125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0519701F-51F7-428B-AA3A-0B5D731C629E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1" name="Объект 2">
            <a:extLst>
              <a:ext uri="{FF2B5EF4-FFF2-40B4-BE49-F238E27FC236}">
                <a16:creationId xmlns:a16="http://schemas.microsoft.com/office/drawing/2014/main" id="{777F61B3-504B-4B89-AF7F-54AEDC1FACF3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85694" y="1476192"/>
            <a:ext cx="4353433" cy="330295"/>
          </a:xfrm>
          <a:solidFill>
            <a:srgbClr val="4096CD"/>
          </a:solidFill>
        </p:spPr>
        <p:txBody>
          <a:bodyPr/>
          <a:lstStyle>
            <a:lvl1pPr marL="0" indent="0">
              <a:lnSpc>
                <a:spcPct val="100000"/>
              </a:lnSpc>
              <a:spcBef>
                <a:spcPts val="1500"/>
              </a:spcBef>
              <a:buClr>
                <a:srgbClr val="2877B2"/>
              </a:buClr>
              <a:buFont typeface="Wingdings" panose="05000000000000000000" pitchFamily="2" charset="2"/>
              <a:buNone/>
              <a:defRPr sz="1600" b="0" baseline="0">
                <a:solidFill>
                  <a:schemeClr val="bg1"/>
                </a:solidFill>
              </a:defRPr>
            </a:lvl1pPr>
            <a:lvl2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2pPr>
            <a:lvl3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3pPr>
            <a:lvl4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4pPr>
            <a:lvl5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5pPr>
          </a:lstStyle>
          <a:p>
            <a:r>
              <a:rPr lang="ru-RU" dirty="0"/>
              <a:t>Подзаголовок</a:t>
            </a:r>
          </a:p>
        </p:txBody>
      </p:sp>
      <p:sp>
        <p:nvSpPr>
          <p:cNvPr id="12" name="Объект 2">
            <a:extLst>
              <a:ext uri="{FF2B5EF4-FFF2-40B4-BE49-F238E27FC236}">
                <a16:creationId xmlns:a16="http://schemas.microsoft.com/office/drawing/2014/main" id="{3EEEA015-2DAC-40D3-B706-C5C6E7115F47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606612" y="1937700"/>
            <a:ext cx="4335929" cy="1014676"/>
          </a:xfrm>
        </p:spPr>
        <p:txBody>
          <a:bodyPr>
            <a:noAutofit/>
          </a:bodyPr>
          <a:lstStyle>
            <a:lvl1pPr marL="179388" indent="-179388">
              <a:buClr>
                <a:srgbClr val="256DA3"/>
              </a:buClr>
              <a:buFont typeface="Wingdings" panose="05000000000000000000" pitchFamily="2" charset="2"/>
              <a:buChar char="§"/>
              <a:defRPr lang="ru-RU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>
              <a:buClr>
                <a:srgbClr val="256DA3"/>
              </a:buClr>
              <a:buFont typeface="Wingdings" panose="05000000000000000000" pitchFamily="2" charset="2"/>
              <a:buChar char="§"/>
              <a:defRPr lang="ru-RU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9388">
              <a:buClr>
                <a:srgbClr val="256DA3"/>
              </a:buClr>
              <a:buFont typeface="Wingdings" panose="05000000000000000000" pitchFamily="2" charset="2"/>
              <a:buChar char="§"/>
              <a:defRPr lang="ru-RU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9388">
              <a:buClr>
                <a:srgbClr val="256DA3"/>
              </a:buClr>
              <a:buFont typeface="Wingdings" panose="05000000000000000000" pitchFamily="2" charset="2"/>
              <a:buChar char="§"/>
              <a:defRPr lang="ru-RU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79388">
              <a:buClr>
                <a:srgbClr val="256DA3"/>
              </a:buClr>
              <a:buFont typeface="Wingdings" panose="05000000000000000000" pitchFamily="2" charset="2"/>
              <a:buChar char="§"/>
              <a:defRPr lang="ru-RU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Пункт списка</a:t>
            </a:r>
          </a:p>
          <a:p>
            <a:pPr lvl="1"/>
            <a:r>
              <a:rPr lang="ru-RU" dirty="0"/>
              <a:t>Пункт списка</a:t>
            </a:r>
          </a:p>
          <a:p>
            <a:pPr lvl="2"/>
            <a:r>
              <a:rPr lang="ru-RU" dirty="0"/>
              <a:t>Пункт списка</a:t>
            </a:r>
          </a:p>
        </p:txBody>
      </p:sp>
    </p:spTree>
    <p:extLst>
      <p:ext uri="{BB962C8B-B14F-4D97-AF65-F5344CB8AC3E}">
        <p14:creationId xmlns:p14="http://schemas.microsoft.com/office/powerpoint/2010/main" val="251843918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Текстовый слайд_ENG">
    <p:bg>
      <p:bgPr>
        <a:gradFill>
          <a:gsLst>
            <a:gs pos="0">
              <a:schemeClr val="bg1"/>
            </a:gs>
            <a:gs pos="100000">
              <a:srgbClr val="EAEAEA"/>
            </a:gs>
          </a:gsLst>
          <a:lin ang="4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F3B756D3-F027-4873-B4A6-10EC9518DC0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61306" y="4177145"/>
            <a:ext cx="6530706" cy="2680855"/>
          </a:xfrm>
          <a:prstGeom prst="rect">
            <a:avLst/>
          </a:prstGeom>
        </p:spPr>
      </p:pic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EF95A857-BEDD-4B71-9BC2-7637F71352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56833" y="6250397"/>
            <a:ext cx="2743200" cy="365125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0519701F-51F7-428B-AA3A-0B5D731C629E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5261E1C-E3E4-4DE9-99BD-E803D02BCD4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188" y="5408174"/>
            <a:ext cx="1146582" cy="132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343841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едуцированный-колонтитул">
    <p:bg>
      <p:bgPr>
        <a:gradFill>
          <a:gsLst>
            <a:gs pos="0">
              <a:schemeClr val="bg1"/>
            </a:gs>
            <a:gs pos="100000">
              <a:srgbClr val="EAEAEA"/>
            </a:gs>
          </a:gsLst>
          <a:lin ang="4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F3B756D3-F027-4873-B4A6-10EC9518DC0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88716" y="4475747"/>
            <a:ext cx="5803296" cy="2382253"/>
          </a:xfrm>
          <a:prstGeom prst="rect">
            <a:avLst/>
          </a:prstGeom>
        </p:spPr>
      </p:pic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EF95A857-BEDD-4B71-9BC2-7637F71352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56833" y="6250397"/>
            <a:ext cx="2743200" cy="365125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0519701F-51F7-428B-AA3A-0B5D731C629E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F99CD96D-EAD6-4EDA-BCD2-BE93D3FC761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82397" y="5871820"/>
            <a:ext cx="886533" cy="829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452015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G_редуцированный-колонтитул">
    <p:bg>
      <p:bgPr>
        <a:gradFill>
          <a:gsLst>
            <a:gs pos="0">
              <a:schemeClr val="bg1"/>
            </a:gs>
            <a:gs pos="100000">
              <a:srgbClr val="EAEAEA"/>
            </a:gs>
          </a:gsLst>
          <a:lin ang="4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F3B756D3-F027-4873-B4A6-10EC9518DC0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88716" y="4475747"/>
            <a:ext cx="5803296" cy="2382253"/>
          </a:xfrm>
          <a:prstGeom prst="rect">
            <a:avLst/>
          </a:prstGeom>
        </p:spPr>
      </p:pic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EF95A857-BEDD-4B71-9BC2-7637F71352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56833" y="6250397"/>
            <a:ext cx="2743200" cy="365125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0519701F-51F7-428B-AA3A-0B5D731C629E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8042B0C7-A0CB-4935-9491-26CB60B90A9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67958" y="5846096"/>
            <a:ext cx="940094" cy="847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682945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">
    <p:bg>
      <p:bgPr>
        <a:solidFill>
          <a:srgbClr val="4096C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DFA9FC3F-0163-400C-9C9E-8D4FC20E186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1220" y="0"/>
            <a:ext cx="12224875" cy="6857634"/>
          </a:xfrm>
          <a:prstGeom prst="rect">
            <a:avLst/>
          </a:prstGeom>
        </p:spPr>
      </p:pic>
      <p:pic>
        <p:nvPicPr>
          <p:cNvPr id="39" name="Рисунок 38">
            <a:extLst>
              <a:ext uri="{FF2B5EF4-FFF2-40B4-BE49-F238E27FC236}">
                <a16:creationId xmlns:a16="http://schemas.microsoft.com/office/drawing/2014/main" id="{70FE38F8-12C5-4F95-8674-72F1BE3329A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31648" y="4574876"/>
            <a:ext cx="1412353" cy="1659186"/>
          </a:xfrm>
          <a:prstGeom prst="rect">
            <a:avLst/>
          </a:prstGeom>
        </p:spPr>
      </p:pic>
      <p:sp>
        <p:nvSpPr>
          <p:cNvPr id="45" name="Текст 41">
            <a:extLst>
              <a:ext uri="{FF2B5EF4-FFF2-40B4-BE49-F238E27FC236}">
                <a16:creationId xmlns:a16="http://schemas.microsoft.com/office/drawing/2014/main" id="{71E83E54-CF34-47DD-8703-A3ED1187976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56983" y="6021557"/>
            <a:ext cx="2133601" cy="250217"/>
          </a:xfrm>
        </p:spPr>
        <p:txBody>
          <a:bodyPr lIns="0" tIns="0" rIns="0" bIns="0"/>
          <a:lstStyle>
            <a:lvl1pPr algn="r">
              <a:buFontTx/>
              <a:buNone/>
              <a:defRPr lang="ru-RU" sz="1100" kern="1200" dirty="0" smtClean="0">
                <a:solidFill>
                  <a:schemeClr val="bg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algn="r">
              <a:lnSpc>
                <a:spcPts val="2200"/>
              </a:lnSpc>
            </a:pPr>
            <a:r>
              <a:rPr lang="ru-RU" dirty="0">
                <a:solidFill>
                  <a:srgbClr val="D9DBD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Москва, 2020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8ED86F9-8FEE-4807-BFB0-00B89A54A590}"/>
              </a:ext>
            </a:extLst>
          </p:cNvPr>
          <p:cNvSpPr txBox="1"/>
          <p:nvPr/>
        </p:nvSpPr>
        <p:spPr>
          <a:xfrm>
            <a:off x="2058802" y="5443070"/>
            <a:ext cx="2022082" cy="3517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lnSpc>
                <a:spcPts val="2200"/>
              </a:lnSpc>
            </a:pPr>
            <a:r>
              <a:rPr lang="en-US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hlinkClick r:id="rId5"/>
              </a:rPr>
              <a:t>www.rusnatt.ru</a:t>
            </a:r>
            <a:endParaRPr lang="ru-RU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480870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inal_ENG">
    <p:bg>
      <p:bgPr>
        <a:solidFill>
          <a:srgbClr val="4096C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DFA9FC3F-0163-400C-9C9E-8D4FC20E186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1220" y="0"/>
            <a:ext cx="12224875" cy="6857634"/>
          </a:xfrm>
          <a:prstGeom prst="rect">
            <a:avLst/>
          </a:prstGeom>
        </p:spPr>
      </p:pic>
      <p:sp>
        <p:nvSpPr>
          <p:cNvPr id="45" name="Текст 41">
            <a:extLst>
              <a:ext uri="{FF2B5EF4-FFF2-40B4-BE49-F238E27FC236}">
                <a16:creationId xmlns:a16="http://schemas.microsoft.com/office/drawing/2014/main" id="{71E83E54-CF34-47DD-8703-A3ED1187976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56983" y="6021557"/>
            <a:ext cx="2133601" cy="250217"/>
          </a:xfrm>
        </p:spPr>
        <p:txBody>
          <a:bodyPr lIns="0" tIns="0" rIns="0" bIns="0"/>
          <a:lstStyle>
            <a:lvl1pPr algn="r">
              <a:buFontTx/>
              <a:buNone/>
              <a:defRPr lang="ru-RU" sz="1100" kern="1200" dirty="0" smtClean="0">
                <a:solidFill>
                  <a:schemeClr val="bg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algn="r">
              <a:lnSpc>
                <a:spcPts val="2200"/>
              </a:lnSpc>
            </a:pPr>
            <a:r>
              <a:rPr lang="en-US" dirty="0">
                <a:solidFill>
                  <a:srgbClr val="D9DBD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oscow</a:t>
            </a:r>
            <a:r>
              <a:rPr lang="ru-RU" dirty="0">
                <a:solidFill>
                  <a:srgbClr val="D9DBD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, 2020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8ED86F9-8FEE-4807-BFB0-00B89A54A590}"/>
              </a:ext>
            </a:extLst>
          </p:cNvPr>
          <p:cNvSpPr txBox="1"/>
          <p:nvPr/>
        </p:nvSpPr>
        <p:spPr>
          <a:xfrm>
            <a:off x="2058802" y="5443070"/>
            <a:ext cx="2022082" cy="3517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lnSpc>
                <a:spcPts val="2200"/>
              </a:lnSpc>
            </a:pPr>
            <a:r>
              <a:rPr lang="en-US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hlinkClick r:id="rId3"/>
              </a:rPr>
              <a:t>www.rusnatt.ru</a:t>
            </a:r>
            <a:endParaRPr lang="ru-RU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D1F75C1B-1D83-45FF-9503-AF3806F01FFB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27313" y="4574876"/>
            <a:ext cx="1444438" cy="1696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54384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17889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РСПК_внутренняя полос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Заголовок 1"/>
          <p:cNvSpPr>
            <a:spLocks noGrp="1"/>
          </p:cNvSpPr>
          <p:nvPr>
            <p:ph type="title"/>
          </p:nvPr>
        </p:nvSpPr>
        <p:spPr>
          <a:xfrm>
            <a:off x="3025518" y="1293311"/>
            <a:ext cx="9027583" cy="1160523"/>
          </a:xfrm>
        </p:spPr>
        <p:txBody>
          <a:bodyPr anchor="t"/>
          <a:lstStyle>
            <a:lvl1pPr algn="l">
              <a:defRPr sz="3000" b="1" cap="none">
                <a:solidFill>
                  <a:srgbClr val="A2BC0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1" name="Текст 2"/>
          <p:cNvSpPr>
            <a:spLocks noGrp="1"/>
          </p:cNvSpPr>
          <p:nvPr>
            <p:ph type="body" idx="1"/>
          </p:nvPr>
        </p:nvSpPr>
        <p:spPr>
          <a:xfrm>
            <a:off x="3025518" y="2582623"/>
            <a:ext cx="9027583" cy="1537965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 sz="2000">
                <a:solidFill>
                  <a:srgbClr val="4D6320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0"/>
            <a:endParaRPr lang="ru-RU" dirty="0"/>
          </a:p>
        </p:txBody>
      </p:sp>
      <p:sp>
        <p:nvSpPr>
          <p:cNvPr id="5" name="Номер слайда 1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400">
                <a:solidFill>
                  <a:srgbClr val="A2BC0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E93537E8-7E35-4F14-AF26-137213A0250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0539950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954A3-9DFD-4C44-94BA-B95130A3BA1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504749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bg>
      <p:bgPr>
        <a:solidFill>
          <a:schemeClr val="bg1">
            <a:alpha val="27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 userDrawn="1"/>
        </p:nvPicPr>
        <p:blipFill rotWithShape="1">
          <a:blip r:embed="rId2"/>
          <a:srcRect l="1197" t="2139" r="1733" b="333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6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anchor="b">
            <a:normAutofit/>
          </a:bodyPr>
          <a:lstStyle>
            <a:lvl1pPr algn="ctr">
              <a:defRPr sz="44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Заголовок презентации</a:t>
            </a:r>
          </a:p>
        </p:txBody>
      </p:sp>
      <p:sp>
        <p:nvSpPr>
          <p:cNvPr id="87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783695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презентации</a:t>
            </a:r>
          </a:p>
        </p:txBody>
      </p:sp>
      <p:sp>
        <p:nvSpPr>
          <p:cNvPr id="88" name="Текст 14"/>
          <p:cNvSpPr>
            <a:spLocks noGrp="1"/>
          </p:cNvSpPr>
          <p:nvPr>
            <p:ph type="body" sz="quarter" idx="13" hasCustomPrompt="1"/>
          </p:nvPr>
        </p:nvSpPr>
        <p:spPr>
          <a:xfrm>
            <a:off x="1558131" y="4945063"/>
            <a:ext cx="9075737" cy="457200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ru-RU" sz="2000" b="1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lang="ru-RU" sz="2000" dirty="0" smtClean="0"/>
            </a:lvl2pPr>
            <a:lvl3pPr>
              <a:defRPr lang="ru-RU" sz="1800" dirty="0" smtClean="0"/>
            </a:lvl3pPr>
            <a:lvl4pPr>
              <a:defRPr lang="ru-RU" sz="1600" dirty="0" smtClean="0"/>
            </a:lvl4pPr>
            <a:lvl5pPr>
              <a:defRPr lang="ru-RU" sz="1600" dirty="0"/>
            </a:lvl5pPr>
          </a:lstStyle>
          <a:p>
            <a:pPr marL="228600" lvl="0" indent="-228600" algn="ctr"/>
            <a:r>
              <a:rPr lang="ru-RU" dirty="0"/>
              <a:t>Спикер</a:t>
            </a:r>
          </a:p>
        </p:txBody>
      </p:sp>
      <p:pic>
        <p:nvPicPr>
          <p:cNvPr id="2" name="Google Shape;41;p26">
            <a:extLst>
              <a:ext uri="{FF2B5EF4-FFF2-40B4-BE49-F238E27FC236}">
                <a16:creationId xmlns:a16="http://schemas.microsoft.com/office/drawing/2014/main" id="{603F81E8-2F3D-85DE-36B6-E18A510735B2}"/>
              </a:ext>
            </a:extLst>
          </p:cNvPr>
          <p:cNvPicPr preferRelativeResize="0"/>
          <p:nvPr userDrawn="1"/>
        </p:nvPicPr>
        <p:blipFill rotWithShape="1">
          <a:blip r:embed="rId3">
            <a:alphaModFix/>
          </a:blip>
          <a:srcRect/>
          <a:stretch/>
        </p:blipFill>
        <p:spPr>
          <a:xfrm>
            <a:off x="11091972" y="5538445"/>
            <a:ext cx="886533" cy="82941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2695206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bg>
      <p:bgPr>
        <a:solidFill>
          <a:srgbClr val="00AF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062F41-BDAA-4855-99FE-F036F20C4570}" type="datetime1">
              <a:rPr lang="ru-RU" smtClean="0"/>
              <a:t>08.12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CF1AB7-AADD-4E45-9396-E28A777DA3A7}" type="slidenum">
              <a:rPr lang="ru-RU" smtClean="0"/>
              <a:t>‹#›</a:t>
            </a:fld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anchor="b">
            <a:normAutofit/>
          </a:bodyPr>
          <a:lstStyle>
            <a:lvl1pPr algn="ctr">
              <a:defRPr sz="44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Заголовок презентации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783695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презентации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3" hasCustomPrompt="1"/>
          </p:nvPr>
        </p:nvSpPr>
        <p:spPr>
          <a:xfrm>
            <a:off x="1558131" y="4945063"/>
            <a:ext cx="9075737" cy="457200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ru-RU" sz="2000" b="1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lang="ru-RU" sz="2000" dirty="0" smtClean="0"/>
            </a:lvl2pPr>
            <a:lvl3pPr>
              <a:defRPr lang="ru-RU" sz="1800" dirty="0" smtClean="0"/>
            </a:lvl3pPr>
            <a:lvl4pPr>
              <a:defRPr lang="ru-RU" sz="1600" dirty="0" smtClean="0"/>
            </a:lvl4pPr>
            <a:lvl5pPr>
              <a:defRPr lang="ru-RU" sz="1600" dirty="0"/>
            </a:lvl5pPr>
          </a:lstStyle>
          <a:p>
            <a:pPr marL="228600" lvl="0" indent="-228600" algn="ctr"/>
            <a:r>
              <a:rPr lang="ru-RU" dirty="0"/>
              <a:t>Спикер</a:t>
            </a:r>
          </a:p>
        </p:txBody>
      </p:sp>
      <p:pic>
        <p:nvPicPr>
          <p:cNvPr id="8" name="Google Shape;41;p26">
            <a:extLst>
              <a:ext uri="{FF2B5EF4-FFF2-40B4-BE49-F238E27FC236}">
                <a16:creationId xmlns:a16="http://schemas.microsoft.com/office/drawing/2014/main" id="{0EA6578B-C092-1161-5C71-FEAEB5CE91E2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091972" y="5538445"/>
            <a:ext cx="886533" cy="82941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0940233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anchor="b">
            <a:normAutofit/>
          </a:bodyPr>
          <a:lstStyle>
            <a:lvl1pPr algn="ctr">
              <a:defRPr sz="44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Название подраздела</a:t>
            </a:r>
          </a:p>
        </p:txBody>
      </p:sp>
      <p:sp>
        <p:nvSpPr>
          <p:cNvPr id="7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783695"/>
          </a:xfrm>
        </p:spPr>
        <p:txBody>
          <a:bodyPr>
            <a:normAutofit/>
          </a:bodyPr>
          <a:lstStyle>
            <a:lvl1pPr marL="0" indent="0" algn="ctr">
              <a:buNone/>
              <a:defRPr sz="2000" baseline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, примечания</a:t>
            </a:r>
          </a:p>
        </p:txBody>
      </p:sp>
      <p:pic>
        <p:nvPicPr>
          <p:cNvPr id="3" name="Google Shape;41;p26">
            <a:extLst>
              <a:ext uri="{FF2B5EF4-FFF2-40B4-BE49-F238E27FC236}">
                <a16:creationId xmlns:a16="http://schemas.microsoft.com/office/drawing/2014/main" id="{25222494-38E5-F16E-4D0F-85D10958CF49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091972" y="5538445"/>
            <a:ext cx="886533" cy="82941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519189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следний слайд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Рисунок 55"/>
          <p:cNvPicPr>
            <a:picLocks noChangeAspect="1"/>
          </p:cNvPicPr>
          <p:nvPr userDrawn="1"/>
        </p:nvPicPr>
        <p:blipFill rotWithShape="1">
          <a:blip r:embed="rId2"/>
          <a:srcRect l="1197" t="2139" r="1733" b="333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062F41-BDAA-4855-99FE-F036F20C4570}" type="datetime1">
              <a:rPr lang="ru-RU" smtClean="0"/>
              <a:t>08.12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CF1AB7-AADD-4E45-9396-E28A777DA3A7}" type="slidenum">
              <a:rPr lang="ru-RU" smtClean="0"/>
              <a:t>‹#›</a:t>
            </a:fld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anchor="b">
            <a:normAutofit/>
          </a:bodyPr>
          <a:lstStyle>
            <a:lvl1pPr algn="ctr">
              <a:defRPr sz="44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Вдохновляющая цитата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3" hasCustomPrompt="1"/>
          </p:nvPr>
        </p:nvSpPr>
        <p:spPr>
          <a:xfrm>
            <a:off x="1558131" y="4945063"/>
            <a:ext cx="9075737" cy="457200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ru-RU" sz="2000" b="1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lang="ru-RU" sz="2000" dirty="0" smtClean="0"/>
            </a:lvl2pPr>
            <a:lvl3pPr>
              <a:defRPr lang="ru-RU" sz="1800" dirty="0" smtClean="0"/>
            </a:lvl3pPr>
            <a:lvl4pPr>
              <a:defRPr lang="ru-RU" sz="1600" dirty="0" smtClean="0"/>
            </a:lvl4pPr>
            <a:lvl5pPr>
              <a:defRPr lang="ru-RU" sz="1600" dirty="0"/>
            </a:lvl5pPr>
          </a:lstStyle>
          <a:p>
            <a:pPr marL="228600" lvl="0" indent="-228600" algn="ctr"/>
            <a:r>
              <a:rPr lang="ru-RU" dirty="0"/>
              <a:t>Спикер</a:t>
            </a:r>
          </a:p>
        </p:txBody>
      </p:sp>
      <p:sp>
        <p:nvSpPr>
          <p:cNvPr id="17" name="Рисунок 16"/>
          <p:cNvSpPr>
            <a:spLocks noGrp="1"/>
          </p:cNvSpPr>
          <p:nvPr>
            <p:ph type="pic" sz="quarter" idx="14"/>
          </p:nvPr>
        </p:nvSpPr>
        <p:spPr>
          <a:xfrm>
            <a:off x="8385507" y="531863"/>
            <a:ext cx="1596693" cy="579485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endParaRPr lang="ru-RU"/>
          </a:p>
        </p:txBody>
      </p:sp>
      <p:pic>
        <p:nvPicPr>
          <p:cNvPr id="3" name="Google Shape;41;p26">
            <a:extLst>
              <a:ext uri="{FF2B5EF4-FFF2-40B4-BE49-F238E27FC236}">
                <a16:creationId xmlns:a16="http://schemas.microsoft.com/office/drawing/2014/main" id="{750E8C29-0CD3-9535-4A9F-5A0341028B45}"/>
              </a:ext>
            </a:extLst>
          </p:cNvPr>
          <p:cNvPicPr preferRelativeResize="0"/>
          <p:nvPr userDrawn="1"/>
        </p:nvPicPr>
        <p:blipFill rotWithShape="1">
          <a:blip r:embed="rId3">
            <a:alphaModFix/>
          </a:blip>
          <a:srcRect/>
          <a:stretch/>
        </p:blipFill>
        <p:spPr>
          <a:xfrm>
            <a:off x="11091972" y="5538445"/>
            <a:ext cx="886533" cy="82941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9627813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Цитата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Прямая соединительная линия 7"/>
          <p:cNvCxnSpPr/>
          <p:nvPr userDrawn="1"/>
        </p:nvCxnSpPr>
        <p:spPr>
          <a:xfrm>
            <a:off x="0" y="6322423"/>
            <a:ext cx="12192000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Номер слайда 5"/>
          <p:cNvSpPr txBox="1">
            <a:spLocks/>
          </p:cNvSpPr>
          <p:nvPr userDrawn="1"/>
        </p:nvSpPr>
        <p:spPr>
          <a:xfrm>
            <a:off x="9188457" y="317681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8CF1AB7-AADD-4E45-9396-E28A777DA3A7}" type="slidenum">
              <a:rPr lang="ru-RU" sz="1400" smtClean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ru-RU" sz="14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963" y="1810512"/>
            <a:ext cx="5114861" cy="3054096"/>
          </a:xfrm>
        </p:spPr>
        <p:txBody>
          <a:bodyPr wrap="square" lIns="0" tIns="0" rIns="0" bIns="0" anchor="t">
            <a:normAutofit/>
          </a:bodyPr>
          <a:lstStyle>
            <a:lvl1pPr marL="0" indent="0">
              <a:defRPr lang="ru-RU" sz="3200" b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pPr marL="0" lvl="0"/>
            <a:r>
              <a:rPr lang="ru-RU" dirty="0"/>
              <a:t>Цитата</a:t>
            </a:r>
          </a:p>
        </p:txBody>
      </p:sp>
      <p:sp>
        <p:nvSpPr>
          <p:cNvPr id="10" name="Текст 4"/>
          <p:cNvSpPr>
            <a:spLocks noGrp="1"/>
          </p:cNvSpPr>
          <p:nvPr>
            <p:ph type="body" sz="quarter" idx="10" hasCustomPrompt="1"/>
          </p:nvPr>
        </p:nvSpPr>
        <p:spPr>
          <a:xfrm>
            <a:off x="1993392" y="5458778"/>
            <a:ext cx="3474720" cy="50311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>
              <a:buNone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914400" indent="0">
              <a:buNone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371600" indent="0">
              <a:buNone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1828800" indent="0">
              <a:buNone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ru-RU" dirty="0"/>
              <a:t>Автор</a:t>
            </a:r>
          </a:p>
        </p:txBody>
      </p:sp>
      <p:sp>
        <p:nvSpPr>
          <p:cNvPr id="13" name="Текст 2"/>
          <p:cNvSpPr>
            <a:spLocks noGrp="1"/>
          </p:cNvSpPr>
          <p:nvPr>
            <p:ph type="body" sz="quarter" idx="41" hasCustomPrompt="1"/>
          </p:nvPr>
        </p:nvSpPr>
        <p:spPr>
          <a:xfrm>
            <a:off x="250298" y="6308725"/>
            <a:ext cx="10231437" cy="549275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400" indent="0">
              <a:buFont typeface="Arial" panose="020B0604020202020204" pitchFamily="34" charset="0"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600" indent="0">
              <a:buFont typeface="Arial" panose="020B0604020202020204" pitchFamily="34" charset="0"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800" indent="0">
              <a:buFont typeface="Arial" panose="020B0604020202020204" pitchFamily="34" charset="0"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ru-RU" dirty="0"/>
              <a:t>Источники, примечания</a:t>
            </a:r>
          </a:p>
        </p:txBody>
      </p:sp>
      <p:sp>
        <p:nvSpPr>
          <p:cNvPr id="11" name="Рисунок 3"/>
          <p:cNvSpPr>
            <a:spLocks noGrp="1"/>
          </p:cNvSpPr>
          <p:nvPr>
            <p:ph type="pic" sz="quarter" idx="43" hasCustomPrompt="1"/>
          </p:nvPr>
        </p:nvSpPr>
        <p:spPr>
          <a:xfrm>
            <a:off x="6096000" y="786384"/>
            <a:ext cx="5444046" cy="5193792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ru-RU" dirty="0"/>
              <a:t>Кликните, чтобы вставить рисунок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201168" y="572929"/>
            <a:ext cx="851515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800" dirty="0">
                <a:solidFill>
                  <a:schemeClr val="accent1"/>
                </a:solidFill>
              </a:rPr>
              <a:t>“</a:t>
            </a:r>
            <a:endParaRPr lang="ru-RU" sz="13800" dirty="0">
              <a:solidFill>
                <a:schemeClr val="accent1"/>
              </a:solidFill>
            </a:endParaRPr>
          </a:p>
        </p:txBody>
      </p:sp>
      <p:pic>
        <p:nvPicPr>
          <p:cNvPr id="3" name="Google Shape;41;p26">
            <a:extLst>
              <a:ext uri="{FF2B5EF4-FFF2-40B4-BE49-F238E27FC236}">
                <a16:creationId xmlns:a16="http://schemas.microsoft.com/office/drawing/2014/main" id="{F4F75CFE-1F87-AF62-6B03-29A28FE9951B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127911" y="5894016"/>
            <a:ext cx="886533" cy="82941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155478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34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41738" y="696961"/>
            <a:ext cx="11143190" cy="443198"/>
          </a:xfrm>
        </p:spPr>
        <p:txBody>
          <a:bodyPr wrap="square" lIns="0" tIns="0" rIns="0" bIns="0" anchor="t">
            <a:spAutoFit/>
          </a:bodyPr>
          <a:lstStyle>
            <a:lvl1pPr marL="0" indent="0">
              <a:defRPr lang="ru-RU" sz="3200" b="1">
                <a:solidFill>
                  <a:schemeClr val="accent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pPr marL="0" lvl="0"/>
            <a:r>
              <a:rPr lang="ru-RU" dirty="0"/>
              <a:t>Напишите основную мысль слайда на 1-2 строки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60026" y="1574800"/>
            <a:ext cx="11414125" cy="4334934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cxnSp>
        <p:nvCxnSpPr>
          <p:cNvPr id="8" name="Прямая соединительная линия 7"/>
          <p:cNvCxnSpPr/>
          <p:nvPr userDrawn="1"/>
        </p:nvCxnSpPr>
        <p:spPr>
          <a:xfrm>
            <a:off x="0" y="6322423"/>
            <a:ext cx="12192000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Текст 2"/>
          <p:cNvSpPr>
            <a:spLocks noGrp="1"/>
          </p:cNvSpPr>
          <p:nvPr>
            <p:ph type="body" sz="quarter" idx="41" hasCustomPrompt="1"/>
          </p:nvPr>
        </p:nvSpPr>
        <p:spPr>
          <a:xfrm>
            <a:off x="360026" y="6308725"/>
            <a:ext cx="10231437" cy="549275"/>
          </a:xfrm>
        </p:spPr>
        <p:txBody>
          <a:bodyPr lIns="0" tIns="0" rIns="0" bIns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400" indent="0">
              <a:buFont typeface="Arial" panose="020B0604020202020204" pitchFamily="34" charset="0"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600" indent="0">
              <a:buFont typeface="Arial" panose="020B0604020202020204" pitchFamily="34" charset="0"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800" indent="0">
              <a:buFont typeface="Arial" panose="020B0604020202020204" pitchFamily="34" charset="0"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ru-RU" dirty="0"/>
              <a:t>Источники, примечания</a:t>
            </a:r>
          </a:p>
        </p:txBody>
      </p:sp>
      <p:sp>
        <p:nvSpPr>
          <p:cNvPr id="17" name="Номер слайда 5"/>
          <p:cNvSpPr txBox="1">
            <a:spLocks/>
          </p:cNvSpPr>
          <p:nvPr userDrawn="1"/>
        </p:nvSpPr>
        <p:spPr>
          <a:xfrm>
            <a:off x="9188457" y="317681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Font typeface="Arial" panose="020B0604020202020204" pitchFamily="34" charset="0"/>
              <a:buNone/>
            </a:pPr>
            <a:fld id="{A8CF1AB7-AADD-4E45-9396-E28A777DA3A7}" type="slidenum">
              <a:rPr lang="ru-RU" sz="1400" smtClean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ru-RU" sz="14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Текст 4"/>
          <p:cNvSpPr>
            <a:spLocks noGrp="1"/>
          </p:cNvSpPr>
          <p:nvPr>
            <p:ph type="body" sz="quarter" idx="10" hasCustomPrompt="1"/>
          </p:nvPr>
        </p:nvSpPr>
        <p:spPr>
          <a:xfrm>
            <a:off x="360026" y="338138"/>
            <a:ext cx="5997575" cy="288925"/>
          </a:xfrm>
        </p:spPr>
        <p:txBody>
          <a:bodyPr lIns="0" tIns="0" rIns="0" bIns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aseline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>
              <a:buNone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914400" indent="0">
              <a:buNone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371600" indent="0">
              <a:buNone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1828800" indent="0">
              <a:buNone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ru-RU" dirty="0"/>
              <a:t>Название подраздела</a:t>
            </a:r>
          </a:p>
        </p:txBody>
      </p:sp>
      <p:pic>
        <p:nvPicPr>
          <p:cNvPr id="4" name="Google Shape;41;p26">
            <a:extLst>
              <a:ext uri="{FF2B5EF4-FFF2-40B4-BE49-F238E27FC236}">
                <a16:creationId xmlns:a16="http://schemas.microsoft.com/office/drawing/2014/main" id="{69167C42-EB90-2A08-FAB8-9D56A84F32B4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103525" y="5894016"/>
            <a:ext cx="886533" cy="82941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81244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11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2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41675" y="1574800"/>
            <a:ext cx="5301192" cy="4334934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cxnSp>
        <p:nvCxnSpPr>
          <p:cNvPr id="8" name="Прямая соединительная линия 7"/>
          <p:cNvCxnSpPr/>
          <p:nvPr userDrawn="1"/>
        </p:nvCxnSpPr>
        <p:spPr>
          <a:xfrm>
            <a:off x="0" y="6322423"/>
            <a:ext cx="12192000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Объект 2"/>
          <p:cNvSpPr>
            <a:spLocks noGrp="1"/>
          </p:cNvSpPr>
          <p:nvPr>
            <p:ph idx="11"/>
          </p:nvPr>
        </p:nvSpPr>
        <p:spPr>
          <a:xfrm>
            <a:off x="6150864" y="1574800"/>
            <a:ext cx="5301192" cy="4334934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Текст 2"/>
          <p:cNvSpPr>
            <a:spLocks noGrp="1"/>
          </p:cNvSpPr>
          <p:nvPr>
            <p:ph type="body" sz="quarter" idx="41" hasCustomPrompt="1"/>
          </p:nvPr>
        </p:nvSpPr>
        <p:spPr>
          <a:xfrm>
            <a:off x="250298" y="6308725"/>
            <a:ext cx="10231437" cy="549275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400" indent="0">
              <a:buFont typeface="Arial" panose="020B0604020202020204" pitchFamily="34" charset="0"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600" indent="0">
              <a:buFont typeface="Arial" panose="020B0604020202020204" pitchFamily="34" charset="0"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800" indent="0">
              <a:buFont typeface="Arial" panose="020B0604020202020204" pitchFamily="34" charset="0"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ru-RU" dirty="0"/>
              <a:t>Источники, примечания</a:t>
            </a: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41738" y="696961"/>
            <a:ext cx="11143190" cy="443198"/>
          </a:xfrm>
        </p:spPr>
        <p:txBody>
          <a:bodyPr wrap="square" lIns="0" tIns="0" rIns="0" bIns="0" anchor="t">
            <a:spAutoFit/>
          </a:bodyPr>
          <a:lstStyle>
            <a:lvl1pPr marL="0" indent="0">
              <a:defRPr lang="ru-RU" sz="3200" b="1">
                <a:solidFill>
                  <a:schemeClr val="accent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pPr marL="0" lvl="0"/>
            <a:r>
              <a:rPr lang="ru-RU" dirty="0"/>
              <a:t>Напишите основную мысль слайда на 1-2 строки</a:t>
            </a:r>
          </a:p>
        </p:txBody>
      </p:sp>
      <p:sp>
        <p:nvSpPr>
          <p:cNvPr id="17" name="Номер слайда 5"/>
          <p:cNvSpPr txBox="1">
            <a:spLocks/>
          </p:cNvSpPr>
          <p:nvPr userDrawn="1"/>
        </p:nvSpPr>
        <p:spPr>
          <a:xfrm>
            <a:off x="9188457" y="317681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Font typeface="Arial" panose="020B0604020202020204" pitchFamily="34" charset="0"/>
              <a:buNone/>
            </a:pPr>
            <a:fld id="{A8CF1AB7-AADD-4E45-9396-E28A777DA3A7}" type="slidenum">
              <a:rPr lang="ru-RU" sz="1400" smtClean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ru-RU" sz="14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Текст 4"/>
          <p:cNvSpPr>
            <a:spLocks noGrp="1"/>
          </p:cNvSpPr>
          <p:nvPr>
            <p:ph type="body" sz="quarter" idx="10" hasCustomPrompt="1"/>
          </p:nvPr>
        </p:nvSpPr>
        <p:spPr>
          <a:xfrm>
            <a:off x="360026" y="338138"/>
            <a:ext cx="5997575" cy="288925"/>
          </a:xfrm>
        </p:spPr>
        <p:txBody>
          <a:bodyPr lIns="0" tIns="0" rIns="0" bIns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aseline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>
              <a:buNone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914400" indent="0">
              <a:buNone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371600" indent="0">
              <a:buNone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1828800" indent="0">
              <a:buNone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ru-RU" dirty="0"/>
              <a:t>Название подраздела</a:t>
            </a:r>
          </a:p>
        </p:txBody>
      </p:sp>
      <p:pic>
        <p:nvPicPr>
          <p:cNvPr id="2" name="Google Shape;41;p26">
            <a:extLst>
              <a:ext uri="{FF2B5EF4-FFF2-40B4-BE49-F238E27FC236}">
                <a16:creationId xmlns:a16="http://schemas.microsoft.com/office/drawing/2014/main" id="{54647241-EBFA-D9C7-F74C-A982CB80644C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103525" y="5894016"/>
            <a:ext cx="886533" cy="82941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5419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11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Прямая соединительная линия 7"/>
          <p:cNvCxnSpPr/>
          <p:nvPr userDrawn="1"/>
        </p:nvCxnSpPr>
        <p:spPr>
          <a:xfrm>
            <a:off x="0" y="6322423"/>
            <a:ext cx="12192000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Текст 2"/>
          <p:cNvSpPr>
            <a:spLocks noGrp="1"/>
          </p:cNvSpPr>
          <p:nvPr>
            <p:ph type="body" sz="quarter" idx="41" hasCustomPrompt="1"/>
          </p:nvPr>
        </p:nvSpPr>
        <p:spPr>
          <a:xfrm>
            <a:off x="250298" y="6308725"/>
            <a:ext cx="10231437" cy="549275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400" indent="0">
              <a:buFont typeface="Arial" panose="020B0604020202020204" pitchFamily="34" charset="0"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600" indent="0">
              <a:buFont typeface="Arial" panose="020B0604020202020204" pitchFamily="34" charset="0"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800" indent="0">
              <a:buFont typeface="Arial" panose="020B0604020202020204" pitchFamily="34" charset="0"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ru-RU" dirty="0"/>
              <a:t>Источники, примечания</a:t>
            </a:r>
          </a:p>
        </p:txBody>
      </p:sp>
      <p:sp>
        <p:nvSpPr>
          <p:cNvPr id="4" name="Рисунок 3"/>
          <p:cNvSpPr>
            <a:spLocks noGrp="1"/>
          </p:cNvSpPr>
          <p:nvPr>
            <p:ph type="pic" sz="quarter" idx="42" hasCustomPrompt="1"/>
          </p:nvPr>
        </p:nvSpPr>
        <p:spPr>
          <a:xfrm>
            <a:off x="334962" y="1920240"/>
            <a:ext cx="11533950" cy="3730752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ru-RU" dirty="0"/>
              <a:t>Кликните, чтобы вставить рисунок</a:t>
            </a:r>
          </a:p>
        </p:txBody>
      </p:sp>
      <p:sp>
        <p:nvSpPr>
          <p:cNvPr id="1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41738" y="696961"/>
            <a:ext cx="11143190" cy="443198"/>
          </a:xfrm>
        </p:spPr>
        <p:txBody>
          <a:bodyPr wrap="square" lIns="0" tIns="0" rIns="0" bIns="0" anchor="t">
            <a:spAutoFit/>
          </a:bodyPr>
          <a:lstStyle>
            <a:lvl1pPr marL="0" indent="0">
              <a:defRPr lang="ru-RU" sz="3200" b="1">
                <a:solidFill>
                  <a:schemeClr val="accent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pPr marL="0" lvl="0"/>
            <a:r>
              <a:rPr lang="ru-RU" dirty="0"/>
              <a:t>Напишите основную мысль слайда на 1-2 строки</a:t>
            </a:r>
          </a:p>
        </p:txBody>
      </p:sp>
      <p:sp>
        <p:nvSpPr>
          <p:cNvPr id="19" name="Номер слайда 5"/>
          <p:cNvSpPr txBox="1">
            <a:spLocks/>
          </p:cNvSpPr>
          <p:nvPr userDrawn="1"/>
        </p:nvSpPr>
        <p:spPr>
          <a:xfrm>
            <a:off x="9188457" y="317681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Font typeface="Arial" panose="020B0604020202020204" pitchFamily="34" charset="0"/>
              <a:buNone/>
            </a:pPr>
            <a:fld id="{A8CF1AB7-AADD-4E45-9396-E28A777DA3A7}" type="slidenum">
              <a:rPr lang="ru-RU" sz="1400" smtClean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ru-RU" sz="14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Текст 4"/>
          <p:cNvSpPr>
            <a:spLocks noGrp="1"/>
          </p:cNvSpPr>
          <p:nvPr>
            <p:ph type="body" sz="quarter" idx="10" hasCustomPrompt="1"/>
          </p:nvPr>
        </p:nvSpPr>
        <p:spPr>
          <a:xfrm>
            <a:off x="360026" y="338138"/>
            <a:ext cx="5997575" cy="288925"/>
          </a:xfrm>
        </p:spPr>
        <p:txBody>
          <a:bodyPr lIns="0" tIns="0" rIns="0" bIns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aseline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>
              <a:buNone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914400" indent="0">
              <a:buNone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371600" indent="0">
              <a:buNone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1828800" indent="0">
              <a:buNone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ru-RU" dirty="0"/>
              <a:t>Название подраздела</a:t>
            </a:r>
          </a:p>
        </p:txBody>
      </p:sp>
      <p:pic>
        <p:nvPicPr>
          <p:cNvPr id="2" name="Google Shape;41;p26">
            <a:extLst>
              <a:ext uri="{FF2B5EF4-FFF2-40B4-BE49-F238E27FC236}">
                <a16:creationId xmlns:a16="http://schemas.microsoft.com/office/drawing/2014/main" id="{62B9E735-80DD-E559-FB39-35E65F6CBD4C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103525" y="5894016"/>
            <a:ext cx="886533" cy="82941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639683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34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Прямая соединительная линия 7"/>
          <p:cNvCxnSpPr/>
          <p:nvPr userDrawn="1"/>
        </p:nvCxnSpPr>
        <p:spPr>
          <a:xfrm>
            <a:off x="0" y="6322423"/>
            <a:ext cx="12192000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Текст 2"/>
          <p:cNvSpPr>
            <a:spLocks noGrp="1"/>
          </p:cNvSpPr>
          <p:nvPr>
            <p:ph type="body" sz="quarter" idx="41" hasCustomPrompt="1"/>
          </p:nvPr>
        </p:nvSpPr>
        <p:spPr>
          <a:xfrm>
            <a:off x="250298" y="6308725"/>
            <a:ext cx="10231437" cy="549275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400" indent="0">
              <a:buFont typeface="Arial" panose="020B0604020202020204" pitchFamily="34" charset="0"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600" indent="0">
              <a:buFont typeface="Arial" panose="020B0604020202020204" pitchFamily="34" charset="0"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800" indent="0">
              <a:buFont typeface="Arial" panose="020B0604020202020204" pitchFamily="34" charset="0"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ru-RU" dirty="0"/>
              <a:t>Источники, примечания</a:t>
            </a:r>
          </a:p>
        </p:txBody>
      </p:sp>
      <p:sp>
        <p:nvSpPr>
          <p:cNvPr id="4" name="Рисунок 3"/>
          <p:cNvSpPr>
            <a:spLocks noGrp="1"/>
          </p:cNvSpPr>
          <p:nvPr>
            <p:ph type="pic" sz="quarter" idx="42" hasCustomPrompt="1"/>
          </p:nvPr>
        </p:nvSpPr>
        <p:spPr>
          <a:xfrm>
            <a:off x="334962" y="1920240"/>
            <a:ext cx="5444046" cy="3730752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ru-RU" dirty="0"/>
              <a:t>Кликните, чтобы вставить рисунок</a:t>
            </a:r>
          </a:p>
        </p:txBody>
      </p:sp>
      <p:sp>
        <p:nvSpPr>
          <p:cNvPr id="11" name="Рисунок 3"/>
          <p:cNvSpPr>
            <a:spLocks noGrp="1"/>
          </p:cNvSpPr>
          <p:nvPr>
            <p:ph type="pic" sz="quarter" idx="43" hasCustomPrompt="1"/>
          </p:nvPr>
        </p:nvSpPr>
        <p:spPr>
          <a:xfrm>
            <a:off x="6096000" y="1908048"/>
            <a:ext cx="5444046" cy="3730752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ru-RU" dirty="0"/>
              <a:t>Кликните, чтобы вставить рисунок</a:t>
            </a:r>
          </a:p>
        </p:txBody>
      </p:sp>
      <p:sp>
        <p:nvSpPr>
          <p:cNvPr id="1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41738" y="696961"/>
            <a:ext cx="11143190" cy="443198"/>
          </a:xfrm>
        </p:spPr>
        <p:txBody>
          <a:bodyPr wrap="square" lIns="0" tIns="0" rIns="0" bIns="0" anchor="t">
            <a:spAutoFit/>
          </a:bodyPr>
          <a:lstStyle>
            <a:lvl1pPr marL="0" indent="0">
              <a:defRPr lang="ru-RU" sz="3200" b="1">
                <a:solidFill>
                  <a:schemeClr val="accent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pPr marL="0" lvl="0"/>
            <a:r>
              <a:rPr lang="ru-RU" dirty="0"/>
              <a:t>Напишите основную мысль слайда на 1-2 строки</a:t>
            </a:r>
          </a:p>
        </p:txBody>
      </p:sp>
      <p:sp>
        <p:nvSpPr>
          <p:cNvPr id="16" name="Номер слайда 5"/>
          <p:cNvSpPr txBox="1">
            <a:spLocks/>
          </p:cNvSpPr>
          <p:nvPr userDrawn="1"/>
        </p:nvSpPr>
        <p:spPr>
          <a:xfrm>
            <a:off x="9188457" y="317681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Font typeface="Arial" panose="020B0604020202020204" pitchFamily="34" charset="0"/>
              <a:buNone/>
            </a:pPr>
            <a:fld id="{A8CF1AB7-AADD-4E45-9396-E28A777DA3A7}" type="slidenum">
              <a:rPr lang="ru-RU" sz="1400" smtClean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ru-RU" sz="14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Текст 4"/>
          <p:cNvSpPr>
            <a:spLocks noGrp="1"/>
          </p:cNvSpPr>
          <p:nvPr>
            <p:ph type="body" sz="quarter" idx="10" hasCustomPrompt="1"/>
          </p:nvPr>
        </p:nvSpPr>
        <p:spPr>
          <a:xfrm>
            <a:off x="360026" y="338138"/>
            <a:ext cx="5997575" cy="288925"/>
          </a:xfrm>
        </p:spPr>
        <p:txBody>
          <a:bodyPr lIns="0" tIns="0" rIns="0" bIns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aseline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>
              <a:buNone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914400" indent="0">
              <a:buNone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371600" indent="0">
              <a:buNone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1828800" indent="0">
              <a:buNone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ru-RU" dirty="0"/>
              <a:t>Название подраздела</a:t>
            </a:r>
          </a:p>
        </p:txBody>
      </p:sp>
      <p:pic>
        <p:nvPicPr>
          <p:cNvPr id="2" name="Google Shape;41;p26">
            <a:extLst>
              <a:ext uri="{FF2B5EF4-FFF2-40B4-BE49-F238E27FC236}">
                <a16:creationId xmlns:a16="http://schemas.microsoft.com/office/drawing/2014/main" id="{2F168E98-E7B7-DE16-192C-C4862D46F15E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103525" y="5894016"/>
            <a:ext cx="886533" cy="82941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922587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3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0629771" y="260784"/>
            <a:ext cx="1264355" cy="405412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65F2260B-3D43-F744-83BB-B35E5A1A8A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0013556"/>
      </p:ext>
    </p:extLst>
  </p:cSld>
  <p:clrMapOvr>
    <a:masterClrMapping/>
  </p:clrMapOvr>
  <p:transition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конки и короткие подпис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Рисунок 9"/>
          <p:cNvSpPr>
            <a:spLocks noGrp="1"/>
          </p:cNvSpPr>
          <p:nvPr>
            <p:ph type="pic" sz="quarter" idx="15" hasCustomPrompt="1"/>
          </p:nvPr>
        </p:nvSpPr>
        <p:spPr>
          <a:xfrm>
            <a:off x="334963" y="1871230"/>
            <a:ext cx="1053570" cy="1053570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ru-RU" dirty="0"/>
              <a:t>Символ</a:t>
            </a:r>
          </a:p>
        </p:txBody>
      </p:sp>
      <p:sp>
        <p:nvSpPr>
          <p:cNvPr id="10" name="Текст 4"/>
          <p:cNvSpPr>
            <a:spLocks noGrp="1"/>
          </p:cNvSpPr>
          <p:nvPr>
            <p:ph type="body" sz="quarter" idx="18" hasCustomPrompt="1"/>
          </p:nvPr>
        </p:nvSpPr>
        <p:spPr>
          <a:xfrm>
            <a:off x="324805" y="3011085"/>
            <a:ext cx="2492906" cy="821267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dirty="0"/>
              <a:t>Подпись</a:t>
            </a:r>
          </a:p>
          <a:p>
            <a:pPr lvl="0"/>
            <a:r>
              <a:rPr lang="ru-RU" dirty="0"/>
              <a:t>На две строчки</a:t>
            </a:r>
          </a:p>
          <a:p>
            <a:pPr lvl="0"/>
            <a:r>
              <a:rPr lang="ru-RU" dirty="0"/>
              <a:t>Или на три</a:t>
            </a:r>
          </a:p>
        </p:txBody>
      </p:sp>
      <p:sp>
        <p:nvSpPr>
          <p:cNvPr id="27" name="Рисунок 9"/>
          <p:cNvSpPr>
            <a:spLocks noGrp="1"/>
          </p:cNvSpPr>
          <p:nvPr>
            <p:ph type="pic" sz="quarter" idx="19" hasCustomPrompt="1"/>
          </p:nvPr>
        </p:nvSpPr>
        <p:spPr>
          <a:xfrm>
            <a:off x="3196695" y="1866998"/>
            <a:ext cx="1053570" cy="1053570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ru-RU" dirty="0"/>
              <a:t>Символ</a:t>
            </a:r>
          </a:p>
        </p:txBody>
      </p:sp>
      <p:sp>
        <p:nvSpPr>
          <p:cNvPr id="28" name="Текст 4"/>
          <p:cNvSpPr>
            <a:spLocks noGrp="1"/>
          </p:cNvSpPr>
          <p:nvPr>
            <p:ph type="body" sz="quarter" idx="20" hasCustomPrompt="1"/>
          </p:nvPr>
        </p:nvSpPr>
        <p:spPr>
          <a:xfrm>
            <a:off x="3186537" y="3006853"/>
            <a:ext cx="2492906" cy="821267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dirty="0"/>
              <a:t>Подпись</a:t>
            </a:r>
          </a:p>
          <a:p>
            <a:pPr lvl="0"/>
            <a:r>
              <a:rPr lang="ru-RU" dirty="0"/>
              <a:t>На две строчки</a:t>
            </a:r>
          </a:p>
          <a:p>
            <a:pPr lvl="0"/>
            <a:r>
              <a:rPr lang="ru-RU" dirty="0"/>
              <a:t>Или на три</a:t>
            </a:r>
          </a:p>
        </p:txBody>
      </p:sp>
      <p:sp>
        <p:nvSpPr>
          <p:cNvPr id="29" name="Рисунок 9"/>
          <p:cNvSpPr>
            <a:spLocks noGrp="1"/>
          </p:cNvSpPr>
          <p:nvPr>
            <p:ph type="pic" sz="quarter" idx="21" hasCustomPrompt="1"/>
          </p:nvPr>
        </p:nvSpPr>
        <p:spPr>
          <a:xfrm>
            <a:off x="6058427" y="1862766"/>
            <a:ext cx="1053570" cy="1053570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ru-RU" dirty="0"/>
              <a:t>Символ</a:t>
            </a:r>
          </a:p>
        </p:txBody>
      </p:sp>
      <p:sp>
        <p:nvSpPr>
          <p:cNvPr id="30" name="Текст 4"/>
          <p:cNvSpPr>
            <a:spLocks noGrp="1"/>
          </p:cNvSpPr>
          <p:nvPr>
            <p:ph type="body" sz="quarter" idx="22" hasCustomPrompt="1"/>
          </p:nvPr>
        </p:nvSpPr>
        <p:spPr>
          <a:xfrm>
            <a:off x="6048269" y="3002621"/>
            <a:ext cx="2492906" cy="821267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dirty="0"/>
              <a:t>Подпись</a:t>
            </a:r>
          </a:p>
          <a:p>
            <a:pPr lvl="0"/>
            <a:r>
              <a:rPr lang="ru-RU" dirty="0"/>
              <a:t>На две строчки</a:t>
            </a:r>
          </a:p>
          <a:p>
            <a:pPr lvl="0"/>
            <a:r>
              <a:rPr lang="ru-RU" dirty="0"/>
              <a:t>Или на три</a:t>
            </a:r>
          </a:p>
        </p:txBody>
      </p:sp>
      <p:sp>
        <p:nvSpPr>
          <p:cNvPr id="31" name="Рисунок 9"/>
          <p:cNvSpPr>
            <a:spLocks noGrp="1"/>
          </p:cNvSpPr>
          <p:nvPr>
            <p:ph type="pic" sz="quarter" idx="23" hasCustomPrompt="1"/>
          </p:nvPr>
        </p:nvSpPr>
        <p:spPr>
          <a:xfrm>
            <a:off x="8920159" y="1858534"/>
            <a:ext cx="1053570" cy="1053570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ru-RU" dirty="0"/>
              <a:t>Символ</a:t>
            </a:r>
          </a:p>
        </p:txBody>
      </p:sp>
      <p:sp>
        <p:nvSpPr>
          <p:cNvPr id="32" name="Текст 4"/>
          <p:cNvSpPr>
            <a:spLocks noGrp="1"/>
          </p:cNvSpPr>
          <p:nvPr>
            <p:ph type="body" sz="quarter" idx="24" hasCustomPrompt="1"/>
          </p:nvPr>
        </p:nvSpPr>
        <p:spPr>
          <a:xfrm>
            <a:off x="8910001" y="2998389"/>
            <a:ext cx="2492906" cy="821267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dirty="0"/>
              <a:t>Подпись</a:t>
            </a:r>
          </a:p>
          <a:p>
            <a:pPr lvl="0"/>
            <a:r>
              <a:rPr lang="ru-RU" dirty="0"/>
              <a:t>На две строчки</a:t>
            </a:r>
          </a:p>
          <a:p>
            <a:pPr lvl="0"/>
            <a:r>
              <a:rPr lang="ru-RU" dirty="0"/>
              <a:t>Или на три</a:t>
            </a:r>
          </a:p>
        </p:txBody>
      </p:sp>
      <p:sp>
        <p:nvSpPr>
          <p:cNvPr id="41" name="Рисунок 9"/>
          <p:cNvSpPr>
            <a:spLocks noGrp="1"/>
          </p:cNvSpPr>
          <p:nvPr>
            <p:ph type="pic" sz="quarter" idx="25" hasCustomPrompt="1"/>
          </p:nvPr>
        </p:nvSpPr>
        <p:spPr>
          <a:xfrm>
            <a:off x="351896" y="4038700"/>
            <a:ext cx="1053570" cy="1053570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ru-RU" dirty="0"/>
              <a:t>Символ</a:t>
            </a:r>
          </a:p>
        </p:txBody>
      </p:sp>
      <p:sp>
        <p:nvSpPr>
          <p:cNvPr id="42" name="Текст 4"/>
          <p:cNvSpPr>
            <a:spLocks noGrp="1"/>
          </p:cNvSpPr>
          <p:nvPr>
            <p:ph type="body" sz="quarter" idx="26" hasCustomPrompt="1"/>
          </p:nvPr>
        </p:nvSpPr>
        <p:spPr>
          <a:xfrm>
            <a:off x="341738" y="5195488"/>
            <a:ext cx="2492906" cy="821267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dirty="0"/>
              <a:t>Подпись</a:t>
            </a:r>
          </a:p>
          <a:p>
            <a:pPr lvl="0"/>
            <a:r>
              <a:rPr lang="ru-RU" dirty="0"/>
              <a:t>На две строчки</a:t>
            </a:r>
          </a:p>
          <a:p>
            <a:pPr lvl="0"/>
            <a:r>
              <a:rPr lang="ru-RU" dirty="0"/>
              <a:t>Или на три</a:t>
            </a:r>
          </a:p>
        </p:txBody>
      </p:sp>
      <p:sp>
        <p:nvSpPr>
          <p:cNvPr id="43" name="Рисунок 9"/>
          <p:cNvSpPr>
            <a:spLocks noGrp="1"/>
          </p:cNvSpPr>
          <p:nvPr>
            <p:ph type="pic" sz="quarter" idx="27" hasCustomPrompt="1"/>
          </p:nvPr>
        </p:nvSpPr>
        <p:spPr>
          <a:xfrm>
            <a:off x="3213628" y="4034468"/>
            <a:ext cx="1053570" cy="1053570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ru-RU" dirty="0"/>
              <a:t>Символ</a:t>
            </a:r>
          </a:p>
        </p:txBody>
      </p:sp>
      <p:sp>
        <p:nvSpPr>
          <p:cNvPr id="44" name="Текст 4"/>
          <p:cNvSpPr>
            <a:spLocks noGrp="1"/>
          </p:cNvSpPr>
          <p:nvPr>
            <p:ph type="body" sz="quarter" idx="28" hasCustomPrompt="1"/>
          </p:nvPr>
        </p:nvSpPr>
        <p:spPr>
          <a:xfrm>
            <a:off x="3203470" y="5191256"/>
            <a:ext cx="2492906" cy="821267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dirty="0"/>
              <a:t>Подпись</a:t>
            </a:r>
          </a:p>
          <a:p>
            <a:pPr lvl="0"/>
            <a:r>
              <a:rPr lang="ru-RU" dirty="0"/>
              <a:t>На две строчки</a:t>
            </a:r>
          </a:p>
          <a:p>
            <a:pPr lvl="0"/>
            <a:r>
              <a:rPr lang="ru-RU" dirty="0"/>
              <a:t>Или на три</a:t>
            </a:r>
          </a:p>
        </p:txBody>
      </p:sp>
      <p:sp>
        <p:nvSpPr>
          <p:cNvPr id="45" name="Рисунок 9"/>
          <p:cNvSpPr>
            <a:spLocks noGrp="1"/>
          </p:cNvSpPr>
          <p:nvPr>
            <p:ph type="pic" sz="quarter" idx="29" hasCustomPrompt="1"/>
          </p:nvPr>
        </p:nvSpPr>
        <p:spPr>
          <a:xfrm>
            <a:off x="6075360" y="4030236"/>
            <a:ext cx="1053570" cy="1053570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ru-RU" dirty="0"/>
              <a:t>Символ</a:t>
            </a:r>
          </a:p>
        </p:txBody>
      </p:sp>
      <p:sp>
        <p:nvSpPr>
          <p:cNvPr id="46" name="Текст 4"/>
          <p:cNvSpPr>
            <a:spLocks noGrp="1"/>
          </p:cNvSpPr>
          <p:nvPr>
            <p:ph type="body" sz="quarter" idx="30" hasCustomPrompt="1"/>
          </p:nvPr>
        </p:nvSpPr>
        <p:spPr>
          <a:xfrm>
            <a:off x="6065202" y="5187024"/>
            <a:ext cx="2492906" cy="821267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dirty="0"/>
              <a:t>Подпись</a:t>
            </a:r>
          </a:p>
          <a:p>
            <a:pPr lvl="0"/>
            <a:r>
              <a:rPr lang="ru-RU" dirty="0"/>
              <a:t>На две строчки</a:t>
            </a:r>
          </a:p>
          <a:p>
            <a:pPr lvl="0"/>
            <a:r>
              <a:rPr lang="ru-RU" dirty="0"/>
              <a:t>Или на три</a:t>
            </a:r>
          </a:p>
        </p:txBody>
      </p:sp>
      <p:sp>
        <p:nvSpPr>
          <p:cNvPr id="47" name="Рисунок 9"/>
          <p:cNvSpPr>
            <a:spLocks noGrp="1"/>
          </p:cNvSpPr>
          <p:nvPr>
            <p:ph type="pic" sz="quarter" idx="31" hasCustomPrompt="1"/>
          </p:nvPr>
        </p:nvSpPr>
        <p:spPr>
          <a:xfrm>
            <a:off x="8937092" y="4026004"/>
            <a:ext cx="1053570" cy="1053570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ru-RU" dirty="0"/>
              <a:t>Символ</a:t>
            </a:r>
          </a:p>
        </p:txBody>
      </p:sp>
      <p:sp>
        <p:nvSpPr>
          <p:cNvPr id="48" name="Текст 4"/>
          <p:cNvSpPr>
            <a:spLocks noGrp="1"/>
          </p:cNvSpPr>
          <p:nvPr>
            <p:ph type="body" sz="quarter" idx="32" hasCustomPrompt="1"/>
          </p:nvPr>
        </p:nvSpPr>
        <p:spPr>
          <a:xfrm>
            <a:off x="8926934" y="5182792"/>
            <a:ext cx="2492906" cy="821267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dirty="0"/>
              <a:t>Подпись</a:t>
            </a:r>
          </a:p>
          <a:p>
            <a:pPr lvl="0"/>
            <a:r>
              <a:rPr lang="ru-RU" dirty="0"/>
              <a:t>На две строчки</a:t>
            </a:r>
          </a:p>
          <a:p>
            <a:pPr lvl="0"/>
            <a:r>
              <a:rPr lang="ru-RU" dirty="0"/>
              <a:t>Или на три</a:t>
            </a:r>
          </a:p>
        </p:txBody>
      </p:sp>
      <p:cxnSp>
        <p:nvCxnSpPr>
          <p:cNvPr id="49" name="Прямая соединительная линия 48"/>
          <p:cNvCxnSpPr/>
          <p:nvPr userDrawn="1"/>
        </p:nvCxnSpPr>
        <p:spPr>
          <a:xfrm>
            <a:off x="0" y="6322423"/>
            <a:ext cx="12192000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Текст 2"/>
          <p:cNvSpPr>
            <a:spLocks noGrp="1"/>
          </p:cNvSpPr>
          <p:nvPr>
            <p:ph type="body" sz="quarter" idx="41" hasCustomPrompt="1"/>
          </p:nvPr>
        </p:nvSpPr>
        <p:spPr>
          <a:xfrm>
            <a:off x="250298" y="6308725"/>
            <a:ext cx="10231437" cy="549275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400" indent="0">
              <a:buFont typeface="Arial" panose="020B0604020202020204" pitchFamily="34" charset="0"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600" indent="0">
              <a:buFont typeface="Arial" panose="020B0604020202020204" pitchFamily="34" charset="0"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800" indent="0">
              <a:buFont typeface="Arial" panose="020B0604020202020204" pitchFamily="34" charset="0"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ru-RU" dirty="0"/>
              <a:t>Источники, примечания</a:t>
            </a:r>
          </a:p>
        </p:txBody>
      </p:sp>
      <p:sp>
        <p:nvSpPr>
          <p:cNvPr id="5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60026" y="696961"/>
            <a:ext cx="11143190" cy="443198"/>
          </a:xfrm>
        </p:spPr>
        <p:txBody>
          <a:bodyPr wrap="square" lIns="0" tIns="0" rIns="0" bIns="0" anchor="t">
            <a:spAutoFit/>
          </a:bodyPr>
          <a:lstStyle>
            <a:lvl1pPr marL="0" indent="0">
              <a:defRPr lang="ru-RU" sz="3200" b="1">
                <a:solidFill>
                  <a:schemeClr val="accent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pPr marL="0" lvl="0"/>
            <a:r>
              <a:rPr lang="ru-RU" dirty="0"/>
              <a:t>Напишите основную мысль слайда на 1-2 строки</a:t>
            </a:r>
          </a:p>
        </p:txBody>
      </p:sp>
      <p:sp>
        <p:nvSpPr>
          <p:cNvPr id="55" name="Номер слайда 5"/>
          <p:cNvSpPr txBox="1">
            <a:spLocks/>
          </p:cNvSpPr>
          <p:nvPr userDrawn="1"/>
        </p:nvSpPr>
        <p:spPr>
          <a:xfrm>
            <a:off x="9188457" y="317681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Font typeface="Arial" panose="020B0604020202020204" pitchFamily="34" charset="0"/>
              <a:buNone/>
            </a:pPr>
            <a:fld id="{A8CF1AB7-AADD-4E45-9396-E28A777DA3A7}" type="slidenum">
              <a:rPr lang="ru-RU" sz="1400" smtClean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ru-RU" sz="14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6" name="Текст 4"/>
          <p:cNvSpPr>
            <a:spLocks noGrp="1"/>
          </p:cNvSpPr>
          <p:nvPr>
            <p:ph type="body" sz="quarter" idx="10" hasCustomPrompt="1"/>
          </p:nvPr>
        </p:nvSpPr>
        <p:spPr>
          <a:xfrm>
            <a:off x="360026" y="338138"/>
            <a:ext cx="5997575" cy="288925"/>
          </a:xfrm>
        </p:spPr>
        <p:txBody>
          <a:bodyPr lIns="0" tIns="0" rIns="0" bIns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aseline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>
              <a:buNone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914400" indent="0">
              <a:buNone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371600" indent="0">
              <a:buNone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1828800" indent="0">
              <a:buNone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ru-RU" dirty="0"/>
              <a:t>Название подраздела</a:t>
            </a:r>
          </a:p>
        </p:txBody>
      </p:sp>
      <p:pic>
        <p:nvPicPr>
          <p:cNvPr id="2" name="Google Shape;41;p26">
            <a:extLst>
              <a:ext uri="{FF2B5EF4-FFF2-40B4-BE49-F238E27FC236}">
                <a16:creationId xmlns:a16="http://schemas.microsoft.com/office/drawing/2014/main" id="{3E3241F8-B301-C341-70C0-6C9840A5CF07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103525" y="5894016"/>
            <a:ext cx="886533" cy="82941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0652178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линные подпис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Рисунок 9"/>
          <p:cNvSpPr>
            <a:spLocks noGrp="1"/>
          </p:cNvSpPr>
          <p:nvPr>
            <p:ph type="pic" sz="quarter" idx="29" hasCustomPrompt="1"/>
          </p:nvPr>
        </p:nvSpPr>
        <p:spPr>
          <a:xfrm>
            <a:off x="334963" y="1998236"/>
            <a:ext cx="1053570" cy="1053570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ru-RU" dirty="0"/>
              <a:t>Символ</a:t>
            </a:r>
          </a:p>
        </p:txBody>
      </p:sp>
      <p:sp>
        <p:nvSpPr>
          <p:cNvPr id="46" name="Текст 4"/>
          <p:cNvSpPr>
            <a:spLocks noGrp="1"/>
          </p:cNvSpPr>
          <p:nvPr>
            <p:ph type="body" sz="quarter" idx="30" hasCustomPrompt="1"/>
          </p:nvPr>
        </p:nvSpPr>
        <p:spPr>
          <a:xfrm>
            <a:off x="1469499" y="2133605"/>
            <a:ext cx="3779834" cy="821267"/>
          </a:xfrm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dirty="0"/>
              <a:t>Подпись</a:t>
            </a:r>
          </a:p>
          <a:p>
            <a:pPr lvl="0"/>
            <a:r>
              <a:rPr lang="ru-RU" dirty="0"/>
              <a:t>На две строчки</a:t>
            </a:r>
          </a:p>
          <a:p>
            <a:pPr lvl="0"/>
            <a:r>
              <a:rPr lang="ru-RU" dirty="0"/>
              <a:t>Или на три</a:t>
            </a:r>
          </a:p>
        </p:txBody>
      </p:sp>
      <p:cxnSp>
        <p:nvCxnSpPr>
          <p:cNvPr id="49" name="Прямая соединительная линия 48"/>
          <p:cNvCxnSpPr/>
          <p:nvPr userDrawn="1"/>
        </p:nvCxnSpPr>
        <p:spPr>
          <a:xfrm>
            <a:off x="0" y="6322423"/>
            <a:ext cx="12192000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Рисунок 9"/>
          <p:cNvSpPr>
            <a:spLocks noGrp="1"/>
          </p:cNvSpPr>
          <p:nvPr>
            <p:ph type="pic" sz="quarter" idx="31" hasCustomPrompt="1"/>
          </p:nvPr>
        </p:nvSpPr>
        <p:spPr>
          <a:xfrm>
            <a:off x="334963" y="3293631"/>
            <a:ext cx="1053570" cy="1053570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ru-RU" dirty="0"/>
              <a:t>Символ</a:t>
            </a:r>
          </a:p>
        </p:txBody>
      </p:sp>
      <p:sp>
        <p:nvSpPr>
          <p:cNvPr id="24" name="Текст 4"/>
          <p:cNvSpPr>
            <a:spLocks noGrp="1"/>
          </p:cNvSpPr>
          <p:nvPr>
            <p:ph type="body" sz="quarter" idx="32" hasCustomPrompt="1"/>
          </p:nvPr>
        </p:nvSpPr>
        <p:spPr>
          <a:xfrm>
            <a:off x="1469499" y="3429000"/>
            <a:ext cx="3779834" cy="821267"/>
          </a:xfrm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dirty="0"/>
              <a:t>Подпись</a:t>
            </a:r>
          </a:p>
          <a:p>
            <a:pPr lvl="0"/>
            <a:r>
              <a:rPr lang="ru-RU" dirty="0"/>
              <a:t>На две строчки</a:t>
            </a:r>
          </a:p>
          <a:p>
            <a:pPr lvl="0"/>
            <a:r>
              <a:rPr lang="ru-RU" dirty="0"/>
              <a:t>Или на три</a:t>
            </a:r>
          </a:p>
        </p:txBody>
      </p:sp>
      <p:sp>
        <p:nvSpPr>
          <p:cNvPr id="25" name="Рисунок 9"/>
          <p:cNvSpPr>
            <a:spLocks noGrp="1"/>
          </p:cNvSpPr>
          <p:nvPr>
            <p:ph type="pic" sz="quarter" idx="33" hasCustomPrompt="1"/>
          </p:nvPr>
        </p:nvSpPr>
        <p:spPr>
          <a:xfrm>
            <a:off x="334963" y="4589026"/>
            <a:ext cx="1053570" cy="1053570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ru-RU" dirty="0"/>
              <a:t>Символ</a:t>
            </a:r>
          </a:p>
        </p:txBody>
      </p:sp>
      <p:sp>
        <p:nvSpPr>
          <p:cNvPr id="26" name="Текст 4"/>
          <p:cNvSpPr>
            <a:spLocks noGrp="1"/>
          </p:cNvSpPr>
          <p:nvPr>
            <p:ph type="body" sz="quarter" idx="34" hasCustomPrompt="1"/>
          </p:nvPr>
        </p:nvSpPr>
        <p:spPr>
          <a:xfrm>
            <a:off x="1469499" y="4724395"/>
            <a:ext cx="3779834" cy="821267"/>
          </a:xfrm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dirty="0"/>
              <a:t>Подпись</a:t>
            </a:r>
          </a:p>
          <a:p>
            <a:pPr lvl="0"/>
            <a:r>
              <a:rPr lang="ru-RU" dirty="0"/>
              <a:t>На две строчки</a:t>
            </a:r>
          </a:p>
          <a:p>
            <a:pPr lvl="0"/>
            <a:r>
              <a:rPr lang="ru-RU" dirty="0"/>
              <a:t>Или на три</a:t>
            </a:r>
          </a:p>
        </p:txBody>
      </p:sp>
      <p:sp>
        <p:nvSpPr>
          <p:cNvPr id="33" name="Рисунок 9"/>
          <p:cNvSpPr>
            <a:spLocks noGrp="1"/>
          </p:cNvSpPr>
          <p:nvPr>
            <p:ph type="pic" sz="quarter" idx="35" hasCustomPrompt="1"/>
          </p:nvPr>
        </p:nvSpPr>
        <p:spPr>
          <a:xfrm>
            <a:off x="6096000" y="1998236"/>
            <a:ext cx="1053570" cy="1053570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ru-RU" dirty="0"/>
              <a:t>Символ</a:t>
            </a:r>
          </a:p>
        </p:txBody>
      </p:sp>
      <p:sp>
        <p:nvSpPr>
          <p:cNvPr id="34" name="Текст 4"/>
          <p:cNvSpPr>
            <a:spLocks noGrp="1"/>
          </p:cNvSpPr>
          <p:nvPr>
            <p:ph type="body" sz="quarter" idx="36" hasCustomPrompt="1"/>
          </p:nvPr>
        </p:nvSpPr>
        <p:spPr>
          <a:xfrm>
            <a:off x="7230536" y="2133605"/>
            <a:ext cx="3779834" cy="821267"/>
          </a:xfrm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dirty="0"/>
              <a:t>Подпись</a:t>
            </a:r>
          </a:p>
          <a:p>
            <a:pPr lvl="0"/>
            <a:r>
              <a:rPr lang="ru-RU" dirty="0"/>
              <a:t>На две строчки</a:t>
            </a:r>
          </a:p>
          <a:p>
            <a:pPr lvl="0"/>
            <a:r>
              <a:rPr lang="ru-RU" dirty="0"/>
              <a:t>Или на три</a:t>
            </a:r>
          </a:p>
        </p:txBody>
      </p:sp>
      <p:sp>
        <p:nvSpPr>
          <p:cNvPr id="35" name="Рисунок 9"/>
          <p:cNvSpPr>
            <a:spLocks noGrp="1"/>
          </p:cNvSpPr>
          <p:nvPr>
            <p:ph type="pic" sz="quarter" idx="37" hasCustomPrompt="1"/>
          </p:nvPr>
        </p:nvSpPr>
        <p:spPr>
          <a:xfrm>
            <a:off x="6096000" y="3293631"/>
            <a:ext cx="1053570" cy="1053570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ru-RU" dirty="0"/>
              <a:t>Символ</a:t>
            </a:r>
          </a:p>
        </p:txBody>
      </p:sp>
      <p:sp>
        <p:nvSpPr>
          <p:cNvPr id="36" name="Текст 4"/>
          <p:cNvSpPr>
            <a:spLocks noGrp="1"/>
          </p:cNvSpPr>
          <p:nvPr>
            <p:ph type="body" sz="quarter" idx="38" hasCustomPrompt="1"/>
          </p:nvPr>
        </p:nvSpPr>
        <p:spPr>
          <a:xfrm>
            <a:off x="7230536" y="3429000"/>
            <a:ext cx="3779834" cy="821267"/>
          </a:xfrm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dirty="0"/>
              <a:t>Подпись</a:t>
            </a:r>
          </a:p>
          <a:p>
            <a:pPr lvl="0"/>
            <a:r>
              <a:rPr lang="ru-RU" dirty="0"/>
              <a:t>На две строчки</a:t>
            </a:r>
          </a:p>
          <a:p>
            <a:pPr lvl="0"/>
            <a:r>
              <a:rPr lang="ru-RU" dirty="0"/>
              <a:t>Или на три</a:t>
            </a:r>
          </a:p>
        </p:txBody>
      </p:sp>
      <p:sp>
        <p:nvSpPr>
          <p:cNvPr id="37" name="Рисунок 9"/>
          <p:cNvSpPr>
            <a:spLocks noGrp="1"/>
          </p:cNvSpPr>
          <p:nvPr>
            <p:ph type="pic" sz="quarter" idx="39" hasCustomPrompt="1"/>
          </p:nvPr>
        </p:nvSpPr>
        <p:spPr>
          <a:xfrm>
            <a:off x="6096000" y="4589026"/>
            <a:ext cx="1053570" cy="1053570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ru-RU" dirty="0"/>
              <a:t>Символ</a:t>
            </a:r>
          </a:p>
        </p:txBody>
      </p:sp>
      <p:sp>
        <p:nvSpPr>
          <p:cNvPr id="38" name="Текст 4"/>
          <p:cNvSpPr>
            <a:spLocks noGrp="1"/>
          </p:cNvSpPr>
          <p:nvPr>
            <p:ph type="body" sz="quarter" idx="40" hasCustomPrompt="1"/>
          </p:nvPr>
        </p:nvSpPr>
        <p:spPr>
          <a:xfrm>
            <a:off x="7230536" y="4724395"/>
            <a:ext cx="3779834" cy="821267"/>
          </a:xfrm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dirty="0"/>
              <a:t>Подпись</a:t>
            </a:r>
          </a:p>
          <a:p>
            <a:pPr lvl="0"/>
            <a:r>
              <a:rPr lang="ru-RU" dirty="0"/>
              <a:t>На две строчки</a:t>
            </a:r>
          </a:p>
          <a:p>
            <a:pPr lvl="0"/>
            <a:r>
              <a:rPr lang="ru-RU" dirty="0"/>
              <a:t>Или на три</a:t>
            </a:r>
          </a:p>
        </p:txBody>
      </p:sp>
      <p:sp>
        <p:nvSpPr>
          <p:cNvPr id="39" name="Текст 2"/>
          <p:cNvSpPr>
            <a:spLocks noGrp="1"/>
          </p:cNvSpPr>
          <p:nvPr>
            <p:ph type="body" sz="quarter" idx="41" hasCustomPrompt="1"/>
          </p:nvPr>
        </p:nvSpPr>
        <p:spPr>
          <a:xfrm>
            <a:off x="250298" y="6308725"/>
            <a:ext cx="10231437" cy="549275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400" indent="0">
              <a:buFont typeface="Arial" panose="020B0604020202020204" pitchFamily="34" charset="0"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600" indent="0">
              <a:buFont typeface="Arial" panose="020B0604020202020204" pitchFamily="34" charset="0"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800" indent="0">
              <a:buFont typeface="Arial" panose="020B0604020202020204" pitchFamily="34" charset="0"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ru-RU" dirty="0"/>
              <a:t>Источники, примечания</a:t>
            </a:r>
          </a:p>
        </p:txBody>
      </p:sp>
      <p:sp>
        <p:nvSpPr>
          <p:cNvPr id="4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60026" y="696961"/>
            <a:ext cx="11143190" cy="443198"/>
          </a:xfrm>
        </p:spPr>
        <p:txBody>
          <a:bodyPr wrap="square" lIns="0" tIns="0" rIns="0" bIns="0" anchor="t">
            <a:spAutoFit/>
          </a:bodyPr>
          <a:lstStyle>
            <a:lvl1pPr marL="0" indent="0">
              <a:defRPr lang="ru-RU" sz="3200" b="1">
                <a:solidFill>
                  <a:schemeClr val="accent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pPr marL="0" lvl="0"/>
            <a:r>
              <a:rPr lang="ru-RU" dirty="0"/>
              <a:t>Напишите основную мысль слайда на 1-2 строки</a:t>
            </a:r>
          </a:p>
        </p:txBody>
      </p:sp>
      <p:sp>
        <p:nvSpPr>
          <p:cNvPr id="52" name="Номер слайда 5"/>
          <p:cNvSpPr txBox="1">
            <a:spLocks/>
          </p:cNvSpPr>
          <p:nvPr userDrawn="1"/>
        </p:nvSpPr>
        <p:spPr>
          <a:xfrm>
            <a:off x="9188457" y="317681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Font typeface="Arial" panose="020B0604020202020204" pitchFamily="34" charset="0"/>
              <a:buNone/>
            </a:pPr>
            <a:fld id="{A8CF1AB7-AADD-4E45-9396-E28A777DA3A7}" type="slidenum">
              <a:rPr lang="ru-RU" sz="1400" smtClean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ru-RU" sz="14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3" name="Текст 4"/>
          <p:cNvSpPr>
            <a:spLocks noGrp="1"/>
          </p:cNvSpPr>
          <p:nvPr>
            <p:ph type="body" sz="quarter" idx="10" hasCustomPrompt="1"/>
          </p:nvPr>
        </p:nvSpPr>
        <p:spPr>
          <a:xfrm>
            <a:off x="360026" y="338138"/>
            <a:ext cx="5997575" cy="288925"/>
          </a:xfrm>
        </p:spPr>
        <p:txBody>
          <a:bodyPr lIns="0" tIns="0" rIns="0" bIns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aseline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>
              <a:buNone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914400" indent="0">
              <a:buNone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371600" indent="0">
              <a:buNone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1828800" indent="0">
              <a:buNone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ru-RU" dirty="0"/>
              <a:t>Название подраздела</a:t>
            </a:r>
          </a:p>
        </p:txBody>
      </p:sp>
      <p:pic>
        <p:nvPicPr>
          <p:cNvPr id="2" name="Google Shape;41;p26">
            <a:extLst>
              <a:ext uri="{FF2B5EF4-FFF2-40B4-BE49-F238E27FC236}">
                <a16:creationId xmlns:a16="http://schemas.microsoft.com/office/drawing/2014/main" id="{0CF205C7-7E43-57E9-1AEE-B7ABC45FD25A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103525" y="5894016"/>
            <a:ext cx="886533" cy="82941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1775294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60026" y="696961"/>
            <a:ext cx="11143190" cy="443198"/>
          </a:xfrm>
        </p:spPr>
        <p:txBody>
          <a:bodyPr wrap="square" lIns="0" tIns="0" rIns="0" bIns="0" anchor="t">
            <a:spAutoFit/>
          </a:bodyPr>
          <a:lstStyle>
            <a:lvl1pPr marL="0" indent="0">
              <a:defRPr lang="ru-RU" sz="3200" b="1">
                <a:solidFill>
                  <a:schemeClr val="accent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pPr marL="0" lvl="0"/>
            <a:r>
              <a:rPr lang="ru-RU" dirty="0"/>
              <a:t>Напишите основную мысль слайда на 1-2 строки</a:t>
            </a:r>
          </a:p>
        </p:txBody>
      </p:sp>
      <p:sp>
        <p:nvSpPr>
          <p:cNvPr id="19" name="Текст 4"/>
          <p:cNvSpPr>
            <a:spLocks noGrp="1"/>
          </p:cNvSpPr>
          <p:nvPr>
            <p:ph type="body" sz="quarter" idx="10" hasCustomPrompt="1"/>
          </p:nvPr>
        </p:nvSpPr>
        <p:spPr>
          <a:xfrm>
            <a:off x="360026" y="338138"/>
            <a:ext cx="5997575" cy="288925"/>
          </a:xfrm>
        </p:spPr>
        <p:txBody>
          <a:bodyPr lIns="0" tIns="0" rIns="0" bIns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aseline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>
              <a:buNone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914400" indent="0">
              <a:buNone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371600" indent="0">
              <a:buNone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1828800" indent="0">
              <a:buNone/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ru-RU" dirty="0"/>
              <a:t>Название подраздела</a:t>
            </a:r>
          </a:p>
        </p:txBody>
      </p:sp>
      <p:pic>
        <p:nvPicPr>
          <p:cNvPr id="2" name="Google Shape;41;p26">
            <a:extLst>
              <a:ext uri="{FF2B5EF4-FFF2-40B4-BE49-F238E27FC236}">
                <a16:creationId xmlns:a16="http://schemas.microsoft.com/office/drawing/2014/main" id="{FFEBB655-F9B5-F83E-71F2-31C9B2A1657F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103525" y="5894016"/>
            <a:ext cx="886533" cy="82941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2045686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Прямая соединительная линия 9"/>
          <p:cNvCxnSpPr/>
          <p:nvPr userDrawn="1"/>
        </p:nvCxnSpPr>
        <p:spPr>
          <a:xfrm>
            <a:off x="0" y="6322423"/>
            <a:ext cx="12192000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Текст 2"/>
          <p:cNvSpPr>
            <a:spLocks noGrp="1"/>
          </p:cNvSpPr>
          <p:nvPr>
            <p:ph type="body" sz="quarter" idx="41" hasCustomPrompt="1"/>
          </p:nvPr>
        </p:nvSpPr>
        <p:spPr>
          <a:xfrm>
            <a:off x="250298" y="6308725"/>
            <a:ext cx="10231437" cy="549275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400" indent="0">
              <a:buFont typeface="Arial" panose="020B0604020202020204" pitchFamily="34" charset="0"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600" indent="0">
              <a:buFont typeface="Arial" panose="020B0604020202020204" pitchFamily="34" charset="0"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800" indent="0">
              <a:buFont typeface="Arial" panose="020B0604020202020204" pitchFamily="34" charset="0"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ru-RU" dirty="0"/>
              <a:t>Источники, примечания</a:t>
            </a:r>
          </a:p>
        </p:txBody>
      </p:sp>
      <p:pic>
        <p:nvPicPr>
          <p:cNvPr id="2" name="Google Shape;41;p26">
            <a:extLst>
              <a:ext uri="{FF2B5EF4-FFF2-40B4-BE49-F238E27FC236}">
                <a16:creationId xmlns:a16="http://schemas.microsoft.com/office/drawing/2014/main" id="{226B7194-7864-DDC9-54BC-FAE4CF978354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103525" y="5894016"/>
            <a:ext cx="886533" cy="82941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811653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theme" Target="../theme/theme10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3.png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1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3.png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theme" Target="../theme/theme12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3.png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theme" Target="../theme/theme13.xml"/><Relationship Id="rId1" Type="http://schemas.openxmlformats.org/officeDocument/2006/relationships/slideLayout" Target="../slideLayouts/slideLayout30.xml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theme" Target="../theme/theme14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3.pn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theme" Target="../theme/theme15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7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36.xml"/><Relationship Id="rId9" Type="http://schemas.openxmlformats.org/officeDocument/2006/relationships/image" Target="../media/image6.pn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theme" Target="../theme/theme16.xml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5" Type="http://schemas.openxmlformats.org/officeDocument/2006/relationships/slideLayout" Target="../slideLayouts/slideLayout44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43.xml"/><Relationship Id="rId9" Type="http://schemas.openxmlformats.org/officeDocument/2006/relationships/image" Target="../media/image6.pn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theme" Target="../theme/theme17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5" Type="http://schemas.openxmlformats.org/officeDocument/2006/relationships/slideLayout" Target="../slideLayouts/slideLayout51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50.xml"/><Relationship Id="rId9" Type="http://schemas.openxmlformats.org/officeDocument/2006/relationships/image" Target="../media/image6.png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theme" Target="../theme/theme18.xml"/><Relationship Id="rId3" Type="http://schemas.openxmlformats.org/officeDocument/2006/relationships/slideLayout" Target="../slideLayouts/slideLayout56.xml"/><Relationship Id="rId7" Type="http://schemas.openxmlformats.org/officeDocument/2006/relationships/slideLayout" Target="../slideLayouts/slideLayout60.xml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8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57.xml"/><Relationship Id="rId9" Type="http://schemas.openxmlformats.org/officeDocument/2006/relationships/image" Target="../media/image6.png"/></Relationships>
</file>

<file path=ppt/slideMasters/_rels/slideMaster19.xml.rels><?xml version="1.0" encoding="UTF-8" standalone="yes"?>
<Relationships xmlns="http://schemas.openxmlformats.org/package/2006/relationships"><Relationship Id="rId3" Type="http://schemas.openxmlformats.org/officeDocument/2006/relationships/theme" Target="../theme/theme19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4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.png"/><Relationship Id="rId4" Type="http://schemas.openxmlformats.org/officeDocument/2006/relationships/image" Target="../media/image2.jpg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13" Type="http://schemas.openxmlformats.org/officeDocument/2006/relationships/slideLayout" Target="../slideLayouts/slideLayout75.xml"/><Relationship Id="rId18" Type="http://schemas.openxmlformats.org/officeDocument/2006/relationships/slideLayout" Target="../slideLayouts/slideLayout80.xml"/><Relationship Id="rId3" Type="http://schemas.openxmlformats.org/officeDocument/2006/relationships/slideLayout" Target="../slideLayouts/slideLayout65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69.xml"/><Relationship Id="rId12" Type="http://schemas.openxmlformats.org/officeDocument/2006/relationships/slideLayout" Target="../slideLayouts/slideLayout74.xml"/><Relationship Id="rId17" Type="http://schemas.openxmlformats.org/officeDocument/2006/relationships/slideLayout" Target="../slideLayouts/slideLayout79.xml"/><Relationship Id="rId2" Type="http://schemas.openxmlformats.org/officeDocument/2006/relationships/slideLayout" Target="../slideLayouts/slideLayout64.xml"/><Relationship Id="rId16" Type="http://schemas.openxmlformats.org/officeDocument/2006/relationships/slideLayout" Target="../slideLayouts/slideLayout78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slideLayout" Target="../slideLayouts/slideLayout73.xml"/><Relationship Id="rId5" Type="http://schemas.openxmlformats.org/officeDocument/2006/relationships/slideLayout" Target="../slideLayouts/slideLayout67.xml"/><Relationship Id="rId15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72.xml"/><Relationship Id="rId19" Type="http://schemas.openxmlformats.org/officeDocument/2006/relationships/theme" Target="../theme/theme20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Relationship Id="rId14" Type="http://schemas.openxmlformats.org/officeDocument/2006/relationships/slideLayout" Target="../slideLayouts/slideLayout76.xml"/><Relationship Id="rId22" Type="http://schemas.openxmlformats.org/officeDocument/2006/relationships/image" Target="../media/image9.emf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slideLayout" Target="../slideLayouts/slideLayout93.xml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2.xml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5" Type="http://schemas.openxmlformats.org/officeDocument/2006/relationships/slideLayout" Target="../slideLayouts/slideLayout85.xml"/><Relationship Id="rId10" Type="http://schemas.openxmlformats.org/officeDocument/2006/relationships/slideLayout" Target="../slideLayouts/slideLayout90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theme" Target="../theme/theme2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2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4.png"/><Relationship Id="rId4" Type="http://schemas.openxmlformats.org/officeDocument/2006/relationships/image" Target="../media/image2.jp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heme" Target="../theme/theme6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heme" Target="../theme/theme7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3.png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theme" Target="../theme/theme8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3.png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theme" Target="../theme/theme9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0629771" y="260784"/>
            <a:ext cx="1264355" cy="405412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65F2260B-3D43-F744-83BB-B35E5A1A8A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35668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4" r:id="rId5"/>
    <p:sldLayoutId id="2147483686" r:id="rId6"/>
    <p:sldLayoutId id="2147483687" r:id="rId7"/>
    <p:sldLayoutId id="2147483688" r:id="rId8"/>
    <p:sldLayoutId id="2147483689" r:id="rId9"/>
  </p:sldLayoutIdLst>
  <p:hf hdr="0" dt="0"/>
  <p:txStyles>
    <p:titleStyle>
      <a:lvl1pPr algn="l" defTabSz="914400" rtl="0" eaLnBrk="1" latinLnBrk="1" hangingPunct="1">
        <a:spcBef>
          <a:spcPct val="0"/>
        </a:spcBef>
        <a:buNone/>
        <a:defRPr sz="40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5">
            <a:extLst>
              <a:ext uri="{FF2B5EF4-FFF2-40B4-BE49-F238E27FC236}">
                <a16:creationId xmlns:a16="http://schemas.microsoft.com/office/drawing/2014/main" id="{30F5C4DC-D3D7-3D45-8F50-9DEBBE1B6D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54661" t="5712" r="1186"/>
          <a:stretch/>
        </p:blipFill>
        <p:spPr>
          <a:xfrm>
            <a:off x="7288912" y="-17511"/>
            <a:ext cx="4903088" cy="6858000"/>
          </a:xfrm>
          <a:prstGeom prst="rect">
            <a:avLst/>
          </a:prstGeom>
        </p:spPr>
      </p:pic>
      <p:graphicFrame>
        <p:nvGraphicFramePr>
          <p:cNvPr id="5" name="Таблица 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950280889"/>
              </p:ext>
            </p:extLst>
          </p:nvPr>
        </p:nvGraphicFramePr>
        <p:xfrm>
          <a:off x="639" y="-1481377"/>
          <a:ext cx="1814400" cy="1425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2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671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15E67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85E9D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431E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71D4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E1B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CB8B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18FDE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58B6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C068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C40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A773C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4657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A6855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0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DA4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A9A0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BA7BC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7A99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A5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841971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</p:sldLayoutIdLst>
  <p:txStyles>
    <p:titleStyle>
      <a:lvl1pPr algn="l" defTabSz="914391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8" indent="-228598" algn="l" defTabSz="91439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93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89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84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80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75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70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66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61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5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1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86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82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77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72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68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63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5">
            <a:extLst>
              <a:ext uri="{FF2B5EF4-FFF2-40B4-BE49-F238E27FC236}">
                <a16:creationId xmlns:a16="http://schemas.microsoft.com/office/drawing/2014/main" id="{30F5C4DC-D3D7-3D45-8F50-9DEBBE1B6D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54661" t="5712" r="1186"/>
          <a:stretch/>
        </p:blipFill>
        <p:spPr>
          <a:xfrm>
            <a:off x="7288912" y="-17511"/>
            <a:ext cx="4903088" cy="6858000"/>
          </a:xfrm>
          <a:prstGeom prst="rect">
            <a:avLst/>
          </a:prstGeom>
        </p:spPr>
      </p:pic>
      <p:graphicFrame>
        <p:nvGraphicFramePr>
          <p:cNvPr id="5" name="Таблица 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950280889"/>
              </p:ext>
            </p:extLst>
          </p:nvPr>
        </p:nvGraphicFramePr>
        <p:xfrm>
          <a:off x="639" y="-1481377"/>
          <a:ext cx="1814400" cy="1425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2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671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15E67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85E9D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431E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71D4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E1B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CB8B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18FDE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58B6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C068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C40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A773C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4657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A6855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0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DA4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A9A0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BA7BC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7A99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A5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65686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</p:sldLayoutIdLst>
  <p:txStyles>
    <p:titleStyle>
      <a:lvl1pPr algn="l" defTabSz="914391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8" indent="-228598" algn="l" defTabSz="91439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93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89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84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80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75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70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66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61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5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1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86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82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77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72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68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63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5">
            <a:extLst>
              <a:ext uri="{FF2B5EF4-FFF2-40B4-BE49-F238E27FC236}">
                <a16:creationId xmlns:a16="http://schemas.microsoft.com/office/drawing/2014/main" id="{30F5C4DC-D3D7-3D45-8F50-9DEBBE1B6D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54661" t="5712" r="1186"/>
          <a:stretch/>
        </p:blipFill>
        <p:spPr>
          <a:xfrm>
            <a:off x="7288912" y="-17511"/>
            <a:ext cx="4903088" cy="6858000"/>
          </a:xfrm>
          <a:prstGeom prst="rect">
            <a:avLst/>
          </a:prstGeom>
        </p:spPr>
      </p:pic>
      <p:graphicFrame>
        <p:nvGraphicFramePr>
          <p:cNvPr id="5" name="Таблица 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950280889"/>
              </p:ext>
            </p:extLst>
          </p:nvPr>
        </p:nvGraphicFramePr>
        <p:xfrm>
          <a:off x="639" y="-1481377"/>
          <a:ext cx="1814400" cy="1425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2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671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15E67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85E9D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431E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71D4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E1B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CB8B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18FDE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58B6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C068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C40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A773C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4657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A6855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0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DA4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A9A0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BA7BC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7A99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A5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139082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</p:sldLayoutIdLst>
  <p:txStyles>
    <p:titleStyle>
      <a:lvl1pPr algn="l" defTabSz="914391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8" indent="-228598" algn="l" defTabSz="91439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93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89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84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80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75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70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66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61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5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1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86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82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77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72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68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63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5">
            <a:extLst>
              <a:ext uri="{FF2B5EF4-FFF2-40B4-BE49-F238E27FC236}">
                <a16:creationId xmlns:a16="http://schemas.microsoft.com/office/drawing/2014/main" id="{30F5C4DC-D3D7-3D45-8F50-9DEBBE1B6D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54661" t="5712" r="1186"/>
          <a:stretch/>
        </p:blipFill>
        <p:spPr>
          <a:xfrm>
            <a:off x="7288912" y="-17511"/>
            <a:ext cx="4903088" cy="6858000"/>
          </a:xfrm>
          <a:prstGeom prst="rect">
            <a:avLst/>
          </a:prstGeom>
        </p:spPr>
      </p:pic>
      <p:graphicFrame>
        <p:nvGraphicFramePr>
          <p:cNvPr id="5" name="Таблица 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950280889"/>
              </p:ext>
            </p:extLst>
          </p:nvPr>
        </p:nvGraphicFramePr>
        <p:xfrm>
          <a:off x="639" y="-1481377"/>
          <a:ext cx="1814400" cy="1425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2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671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15E67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85E9D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431E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71D4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E1B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CB8B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18FDE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58B6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C068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C40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A773C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4657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A6855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0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DA4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A9A0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BA7BC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7A99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A5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629491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</p:sldLayoutIdLst>
  <p:txStyles>
    <p:titleStyle>
      <a:lvl1pPr algn="l" defTabSz="914391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8" indent="-228598" algn="l" defTabSz="91439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93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89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84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80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75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70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66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61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5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1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86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82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77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72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68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63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5">
            <a:extLst>
              <a:ext uri="{FF2B5EF4-FFF2-40B4-BE49-F238E27FC236}">
                <a16:creationId xmlns:a16="http://schemas.microsoft.com/office/drawing/2014/main" id="{30F5C4DC-D3D7-3D45-8F50-9DEBBE1B6D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54661" t="5712" r="1186"/>
          <a:stretch/>
        </p:blipFill>
        <p:spPr>
          <a:xfrm>
            <a:off x="7288912" y="-17511"/>
            <a:ext cx="4903088" cy="6858000"/>
          </a:xfrm>
          <a:prstGeom prst="rect">
            <a:avLst/>
          </a:prstGeom>
        </p:spPr>
      </p:pic>
      <p:graphicFrame>
        <p:nvGraphicFramePr>
          <p:cNvPr id="5" name="Таблица 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950280889"/>
              </p:ext>
            </p:extLst>
          </p:nvPr>
        </p:nvGraphicFramePr>
        <p:xfrm>
          <a:off x="639" y="-1481377"/>
          <a:ext cx="1814400" cy="1425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2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671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15E67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85E9D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431E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71D4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E1B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CB8B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18FDE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58B6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C068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C40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A773C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4657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A6855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0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DA4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A9A0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BA7BC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7A99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A5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39195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</p:sldLayoutIdLst>
  <p:txStyles>
    <p:titleStyle>
      <a:lvl1pPr algn="l" defTabSz="914391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8" indent="-228598" algn="l" defTabSz="91439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93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89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84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80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75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70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66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61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5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1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86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82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77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72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68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63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>
            <a:extLst>
              <a:ext uri="{FF2B5EF4-FFF2-40B4-BE49-F238E27FC236}">
                <a16:creationId xmlns:a16="http://schemas.microsoft.com/office/drawing/2014/main" id="{5252E68D-1429-C748-B5F5-C9C91072659C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1533933" y="1"/>
            <a:ext cx="656971" cy="948877"/>
          </a:xfrm>
          <a:prstGeom prst="rect">
            <a:avLst/>
          </a:prstGeom>
        </p:spPr>
      </p:pic>
      <p:graphicFrame>
        <p:nvGraphicFramePr>
          <p:cNvPr id="6" name="Таблица 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950280889"/>
              </p:ext>
            </p:extLst>
          </p:nvPr>
        </p:nvGraphicFramePr>
        <p:xfrm>
          <a:off x="639" y="-1481377"/>
          <a:ext cx="1814400" cy="1425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2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671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15E67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85E9D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431E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71D4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E1B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CB8B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18FDE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58B6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C068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C40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A773C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4657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A6855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0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DA4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A9A0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BA7BC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7A99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A5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FEE21D01-41B0-44BD-8AC7-1B50F0F008D1}"/>
              </a:ext>
            </a:extLst>
          </p:cNvPr>
          <p:cNvSpPr txBox="1"/>
          <p:nvPr userDrawn="1"/>
        </p:nvSpPr>
        <p:spPr>
          <a:xfrm>
            <a:off x="4238513" y="6351110"/>
            <a:ext cx="765387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 Light"/>
                <a:ea typeface="+mn-ea"/>
                <a:cs typeface="Arial" panose="020B0604020202020204" pitchFamily="34" charset="0"/>
              </a:rPr>
              <a:t>Оценка потенциала коммерциализации технологий. Оценка рынка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 Light"/>
                <a:ea typeface="+mn-ea"/>
                <a:cs typeface="Arial" panose="020B0604020202020204" pitchFamily="34" charset="0"/>
              </a:rPr>
              <a:t>| </a:t>
            </a:r>
            <a:fld id="{DF80CF27-B136-41F2-85ED-90F34DDB1631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Mont Light"/>
              <a:ea typeface="+mn-ea"/>
              <a:cs typeface="Arial" panose="020B0604020202020204" pitchFamily="34" charset="0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9326F2B8-55C4-6348-D524-4DD0D3E185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344"/>
          <a:stretch/>
        </p:blipFill>
        <p:spPr>
          <a:xfrm>
            <a:off x="186706" y="5652327"/>
            <a:ext cx="1061992" cy="960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90202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6" r:id="rId3"/>
    <p:sldLayoutId id="2147483737" r:id="rId4"/>
    <p:sldLayoutId id="2147483739" r:id="rId5"/>
    <p:sldLayoutId id="2147483741" r:id="rId6"/>
    <p:sldLayoutId id="2147483742" r:id="rId7"/>
  </p:sldLayoutIdLst>
  <p:hf hdr="0" dt="0"/>
  <p:txStyles>
    <p:titleStyle>
      <a:lvl1pPr algn="l" defTabSz="609594" rtl="0" eaLnBrk="1" latinLnBrk="0" hangingPunct="1">
        <a:lnSpc>
          <a:spcPct val="90000"/>
        </a:lnSpc>
        <a:spcBef>
          <a:spcPct val="0"/>
        </a:spcBef>
        <a:buNone/>
        <a:defRPr sz="293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52398" indent="-152398" algn="l" defTabSz="609594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195" indent="-152398" algn="l" defTabSz="609594" rtl="0" eaLnBrk="1" latinLnBrk="0" hangingPunct="1">
        <a:lnSpc>
          <a:spcPct val="90000"/>
        </a:lnSpc>
        <a:spcBef>
          <a:spcPts val="334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61992" indent="-152398" algn="l" defTabSz="609594" rtl="0" eaLnBrk="1" latinLnBrk="0" hangingPunct="1">
        <a:lnSpc>
          <a:spcPct val="90000"/>
        </a:lnSpc>
        <a:spcBef>
          <a:spcPts val="334"/>
        </a:spcBef>
        <a:buFont typeface="Arial" panose="020B0604020202020204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3pPr>
      <a:lvl4pPr marL="1066789" indent="-152398" algn="l" defTabSz="609594" rtl="0" eaLnBrk="1" latinLnBrk="0" hangingPunct="1">
        <a:lnSpc>
          <a:spcPct val="90000"/>
        </a:lnSpc>
        <a:spcBef>
          <a:spcPts val="334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86" indent="-152398" algn="l" defTabSz="609594" rtl="0" eaLnBrk="1" latinLnBrk="0" hangingPunct="1">
        <a:lnSpc>
          <a:spcPct val="90000"/>
        </a:lnSpc>
        <a:spcBef>
          <a:spcPts val="334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676383" indent="-152398" algn="l" defTabSz="609594" rtl="0" eaLnBrk="1" latinLnBrk="0" hangingPunct="1">
        <a:lnSpc>
          <a:spcPct val="90000"/>
        </a:lnSpc>
        <a:spcBef>
          <a:spcPts val="334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981180" indent="-152398" algn="l" defTabSz="609594" rtl="0" eaLnBrk="1" latinLnBrk="0" hangingPunct="1">
        <a:lnSpc>
          <a:spcPct val="90000"/>
        </a:lnSpc>
        <a:spcBef>
          <a:spcPts val="334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285977" indent="-152398" algn="l" defTabSz="609594" rtl="0" eaLnBrk="1" latinLnBrk="0" hangingPunct="1">
        <a:lnSpc>
          <a:spcPct val="90000"/>
        </a:lnSpc>
        <a:spcBef>
          <a:spcPts val="334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590774" indent="-152398" algn="l" defTabSz="609594" rtl="0" eaLnBrk="1" latinLnBrk="0" hangingPunct="1">
        <a:lnSpc>
          <a:spcPct val="90000"/>
        </a:lnSpc>
        <a:spcBef>
          <a:spcPts val="334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94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4797" algn="l" defTabSz="609594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09594" algn="l" defTabSz="609594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391" algn="l" defTabSz="609594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19188" algn="l" defTabSz="609594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23985" algn="l" defTabSz="609594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782" algn="l" defTabSz="609594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33578" algn="l" defTabSz="609594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38375" algn="l" defTabSz="609594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>
            <a:extLst>
              <a:ext uri="{FF2B5EF4-FFF2-40B4-BE49-F238E27FC236}">
                <a16:creationId xmlns:a16="http://schemas.microsoft.com/office/drawing/2014/main" id="{5252E68D-1429-C748-B5F5-C9C91072659C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1533933" y="1"/>
            <a:ext cx="656971" cy="948877"/>
          </a:xfrm>
          <a:prstGeom prst="rect">
            <a:avLst/>
          </a:prstGeom>
        </p:spPr>
      </p:pic>
      <p:graphicFrame>
        <p:nvGraphicFramePr>
          <p:cNvPr id="6" name="Таблица 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950280889"/>
              </p:ext>
            </p:extLst>
          </p:nvPr>
        </p:nvGraphicFramePr>
        <p:xfrm>
          <a:off x="639" y="-1481377"/>
          <a:ext cx="1814400" cy="1425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2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671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15E67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85E9D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431E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71D4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E1B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CB8B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18FDE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58B6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C068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C40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A773C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4657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A6855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0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DA4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A9A0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BA7BC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7A99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A5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FEE21D01-41B0-44BD-8AC7-1B50F0F008D1}"/>
              </a:ext>
            </a:extLst>
          </p:cNvPr>
          <p:cNvSpPr txBox="1"/>
          <p:nvPr userDrawn="1"/>
        </p:nvSpPr>
        <p:spPr>
          <a:xfrm>
            <a:off x="2831690" y="6351110"/>
            <a:ext cx="906069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100" b="0" i="0" kern="1200" dirty="0">
                <a:solidFill>
                  <a:srgbClr val="002060"/>
                </a:solidFill>
                <a:latin typeface="+mn-lt"/>
                <a:ea typeface="+mn-ea"/>
                <a:cs typeface="Arial" panose="020B0604020202020204" pitchFamily="34" charset="0"/>
              </a:rPr>
              <a:t>Оценка потенциала коммерциализации технологий. Оценка рынка </a:t>
            </a:r>
            <a:r>
              <a:rPr lang="en-US" sz="1100" b="0" i="0" kern="1200" dirty="0">
                <a:solidFill>
                  <a:srgbClr val="002060"/>
                </a:solidFill>
                <a:latin typeface="+mn-lt"/>
                <a:ea typeface="+mn-ea"/>
                <a:cs typeface="Arial" panose="020B0604020202020204" pitchFamily="34" charset="0"/>
              </a:rPr>
              <a:t>| </a:t>
            </a:r>
            <a:fld id="{DF80CF27-B136-41F2-85ED-90F34DDB1631}" type="slidenum">
              <a:rPr lang="ru-RU" sz="1100" smtClean="0">
                <a:solidFill>
                  <a:srgbClr val="002060"/>
                </a:solidFill>
              </a:rPr>
              <a:pPr/>
              <a:t>‹#›</a:t>
            </a:fld>
            <a:endParaRPr lang="ru-RU" sz="1100" b="0" i="0" kern="1200" dirty="0">
              <a:solidFill>
                <a:srgbClr val="002060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9326F2B8-55C4-6348-D524-4DD0D3E185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344"/>
          <a:stretch/>
        </p:blipFill>
        <p:spPr>
          <a:xfrm>
            <a:off x="186706" y="5652327"/>
            <a:ext cx="1061992" cy="960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53460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8" r:id="rId3"/>
    <p:sldLayoutId id="2147483749" r:id="rId4"/>
    <p:sldLayoutId id="2147483751" r:id="rId5"/>
    <p:sldLayoutId id="2147483753" r:id="rId6"/>
    <p:sldLayoutId id="2147483754" r:id="rId7"/>
  </p:sldLayoutIdLst>
  <p:hf hdr="0" dt="0"/>
  <p:txStyles>
    <p:titleStyle>
      <a:lvl1pPr algn="l" defTabSz="609594" rtl="0" eaLnBrk="1" latinLnBrk="0" hangingPunct="1">
        <a:lnSpc>
          <a:spcPct val="90000"/>
        </a:lnSpc>
        <a:spcBef>
          <a:spcPct val="0"/>
        </a:spcBef>
        <a:buNone/>
        <a:defRPr sz="293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52398" indent="-152398" algn="l" defTabSz="609594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195" indent="-152398" algn="l" defTabSz="609594" rtl="0" eaLnBrk="1" latinLnBrk="0" hangingPunct="1">
        <a:lnSpc>
          <a:spcPct val="90000"/>
        </a:lnSpc>
        <a:spcBef>
          <a:spcPts val="334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61992" indent="-152398" algn="l" defTabSz="609594" rtl="0" eaLnBrk="1" latinLnBrk="0" hangingPunct="1">
        <a:lnSpc>
          <a:spcPct val="90000"/>
        </a:lnSpc>
        <a:spcBef>
          <a:spcPts val="334"/>
        </a:spcBef>
        <a:buFont typeface="Arial" panose="020B0604020202020204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3pPr>
      <a:lvl4pPr marL="1066789" indent="-152398" algn="l" defTabSz="609594" rtl="0" eaLnBrk="1" latinLnBrk="0" hangingPunct="1">
        <a:lnSpc>
          <a:spcPct val="90000"/>
        </a:lnSpc>
        <a:spcBef>
          <a:spcPts val="334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86" indent="-152398" algn="l" defTabSz="609594" rtl="0" eaLnBrk="1" latinLnBrk="0" hangingPunct="1">
        <a:lnSpc>
          <a:spcPct val="90000"/>
        </a:lnSpc>
        <a:spcBef>
          <a:spcPts val="334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676383" indent="-152398" algn="l" defTabSz="609594" rtl="0" eaLnBrk="1" latinLnBrk="0" hangingPunct="1">
        <a:lnSpc>
          <a:spcPct val="90000"/>
        </a:lnSpc>
        <a:spcBef>
          <a:spcPts val="334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981180" indent="-152398" algn="l" defTabSz="609594" rtl="0" eaLnBrk="1" latinLnBrk="0" hangingPunct="1">
        <a:lnSpc>
          <a:spcPct val="90000"/>
        </a:lnSpc>
        <a:spcBef>
          <a:spcPts val="334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285977" indent="-152398" algn="l" defTabSz="609594" rtl="0" eaLnBrk="1" latinLnBrk="0" hangingPunct="1">
        <a:lnSpc>
          <a:spcPct val="90000"/>
        </a:lnSpc>
        <a:spcBef>
          <a:spcPts val="334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590774" indent="-152398" algn="l" defTabSz="609594" rtl="0" eaLnBrk="1" latinLnBrk="0" hangingPunct="1">
        <a:lnSpc>
          <a:spcPct val="90000"/>
        </a:lnSpc>
        <a:spcBef>
          <a:spcPts val="334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94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4797" algn="l" defTabSz="609594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09594" algn="l" defTabSz="609594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391" algn="l" defTabSz="609594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19188" algn="l" defTabSz="609594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23985" algn="l" defTabSz="609594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782" algn="l" defTabSz="609594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33578" algn="l" defTabSz="609594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38375" algn="l" defTabSz="609594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>
            <a:extLst>
              <a:ext uri="{FF2B5EF4-FFF2-40B4-BE49-F238E27FC236}">
                <a16:creationId xmlns:a16="http://schemas.microsoft.com/office/drawing/2014/main" id="{5252E68D-1429-C748-B5F5-C9C91072659C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1533933" y="1"/>
            <a:ext cx="656971" cy="948877"/>
          </a:xfrm>
          <a:prstGeom prst="rect">
            <a:avLst/>
          </a:prstGeom>
        </p:spPr>
      </p:pic>
      <p:graphicFrame>
        <p:nvGraphicFramePr>
          <p:cNvPr id="6" name="Таблица 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950280889"/>
              </p:ext>
            </p:extLst>
          </p:nvPr>
        </p:nvGraphicFramePr>
        <p:xfrm>
          <a:off x="639" y="-1481377"/>
          <a:ext cx="1814400" cy="1425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2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671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15E67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85E9D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431E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71D4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E1B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CB8B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18FDE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58B6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C068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C40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A773C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4657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A6855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0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DA4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A9A0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BA7BC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7A99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A5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FEE21D01-41B0-44BD-8AC7-1B50F0F008D1}"/>
              </a:ext>
            </a:extLst>
          </p:cNvPr>
          <p:cNvSpPr txBox="1"/>
          <p:nvPr userDrawn="1"/>
        </p:nvSpPr>
        <p:spPr>
          <a:xfrm>
            <a:off x="2831690" y="6351110"/>
            <a:ext cx="906069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100" b="0" i="0" kern="1200" dirty="0">
                <a:solidFill>
                  <a:srgbClr val="002060"/>
                </a:solidFill>
                <a:latin typeface="+mn-lt"/>
                <a:ea typeface="+mn-ea"/>
                <a:cs typeface="Arial" panose="020B0604020202020204" pitchFamily="34" charset="0"/>
              </a:rPr>
              <a:t>Оценка потенциала коммерциализации технологий. Оценка рынка </a:t>
            </a:r>
            <a:r>
              <a:rPr lang="en-US" sz="1100" b="0" i="0" kern="1200" dirty="0">
                <a:solidFill>
                  <a:srgbClr val="002060"/>
                </a:solidFill>
                <a:latin typeface="+mn-lt"/>
                <a:ea typeface="+mn-ea"/>
                <a:cs typeface="Arial" panose="020B0604020202020204" pitchFamily="34" charset="0"/>
              </a:rPr>
              <a:t>| </a:t>
            </a:r>
            <a:fld id="{DF80CF27-B136-41F2-85ED-90F34DDB1631}" type="slidenum">
              <a:rPr lang="ru-RU" sz="1100" smtClean="0">
                <a:solidFill>
                  <a:srgbClr val="002060"/>
                </a:solidFill>
              </a:rPr>
              <a:pPr/>
              <a:t>‹#›</a:t>
            </a:fld>
            <a:endParaRPr lang="ru-RU" sz="1100" b="0" i="0" kern="1200" dirty="0">
              <a:solidFill>
                <a:srgbClr val="002060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9326F2B8-55C4-6348-D524-4DD0D3E185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344"/>
          <a:stretch/>
        </p:blipFill>
        <p:spPr>
          <a:xfrm>
            <a:off x="186706" y="5652327"/>
            <a:ext cx="1061992" cy="960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0582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60" r:id="rId3"/>
    <p:sldLayoutId id="2147483761" r:id="rId4"/>
    <p:sldLayoutId id="2147483763" r:id="rId5"/>
    <p:sldLayoutId id="2147483765" r:id="rId6"/>
    <p:sldLayoutId id="2147483766" r:id="rId7"/>
  </p:sldLayoutIdLst>
  <p:hf hdr="0" dt="0"/>
  <p:txStyles>
    <p:titleStyle>
      <a:lvl1pPr algn="l" defTabSz="609594" rtl="0" eaLnBrk="1" latinLnBrk="0" hangingPunct="1">
        <a:lnSpc>
          <a:spcPct val="90000"/>
        </a:lnSpc>
        <a:spcBef>
          <a:spcPct val="0"/>
        </a:spcBef>
        <a:buNone/>
        <a:defRPr sz="293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52398" indent="-152398" algn="l" defTabSz="609594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195" indent="-152398" algn="l" defTabSz="609594" rtl="0" eaLnBrk="1" latinLnBrk="0" hangingPunct="1">
        <a:lnSpc>
          <a:spcPct val="90000"/>
        </a:lnSpc>
        <a:spcBef>
          <a:spcPts val="334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61992" indent="-152398" algn="l" defTabSz="609594" rtl="0" eaLnBrk="1" latinLnBrk="0" hangingPunct="1">
        <a:lnSpc>
          <a:spcPct val="90000"/>
        </a:lnSpc>
        <a:spcBef>
          <a:spcPts val="334"/>
        </a:spcBef>
        <a:buFont typeface="Arial" panose="020B0604020202020204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3pPr>
      <a:lvl4pPr marL="1066789" indent="-152398" algn="l" defTabSz="609594" rtl="0" eaLnBrk="1" latinLnBrk="0" hangingPunct="1">
        <a:lnSpc>
          <a:spcPct val="90000"/>
        </a:lnSpc>
        <a:spcBef>
          <a:spcPts val="334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86" indent="-152398" algn="l" defTabSz="609594" rtl="0" eaLnBrk="1" latinLnBrk="0" hangingPunct="1">
        <a:lnSpc>
          <a:spcPct val="90000"/>
        </a:lnSpc>
        <a:spcBef>
          <a:spcPts val="334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676383" indent="-152398" algn="l" defTabSz="609594" rtl="0" eaLnBrk="1" latinLnBrk="0" hangingPunct="1">
        <a:lnSpc>
          <a:spcPct val="90000"/>
        </a:lnSpc>
        <a:spcBef>
          <a:spcPts val="334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981180" indent="-152398" algn="l" defTabSz="609594" rtl="0" eaLnBrk="1" latinLnBrk="0" hangingPunct="1">
        <a:lnSpc>
          <a:spcPct val="90000"/>
        </a:lnSpc>
        <a:spcBef>
          <a:spcPts val="334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285977" indent="-152398" algn="l" defTabSz="609594" rtl="0" eaLnBrk="1" latinLnBrk="0" hangingPunct="1">
        <a:lnSpc>
          <a:spcPct val="90000"/>
        </a:lnSpc>
        <a:spcBef>
          <a:spcPts val="334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590774" indent="-152398" algn="l" defTabSz="609594" rtl="0" eaLnBrk="1" latinLnBrk="0" hangingPunct="1">
        <a:lnSpc>
          <a:spcPct val="90000"/>
        </a:lnSpc>
        <a:spcBef>
          <a:spcPts val="334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94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4797" algn="l" defTabSz="609594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09594" algn="l" defTabSz="609594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391" algn="l" defTabSz="609594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19188" algn="l" defTabSz="609594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23985" algn="l" defTabSz="609594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782" algn="l" defTabSz="609594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33578" algn="l" defTabSz="609594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38375" algn="l" defTabSz="609594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>
            <a:extLst>
              <a:ext uri="{FF2B5EF4-FFF2-40B4-BE49-F238E27FC236}">
                <a16:creationId xmlns:a16="http://schemas.microsoft.com/office/drawing/2014/main" id="{5252E68D-1429-C748-B5F5-C9C91072659C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1533933" y="1"/>
            <a:ext cx="656971" cy="948877"/>
          </a:xfrm>
          <a:prstGeom prst="rect">
            <a:avLst/>
          </a:prstGeom>
        </p:spPr>
      </p:pic>
      <p:graphicFrame>
        <p:nvGraphicFramePr>
          <p:cNvPr id="6" name="Таблица 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950280889"/>
              </p:ext>
            </p:extLst>
          </p:nvPr>
        </p:nvGraphicFramePr>
        <p:xfrm>
          <a:off x="639" y="-1481377"/>
          <a:ext cx="1814400" cy="1425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2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671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15E67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85E9D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431E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71D4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E1B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CB8B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18FDE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58B6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C068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C40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A773C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4657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A6855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0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DA4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A9A0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BA7BC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7A99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A5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FEE21D01-41B0-44BD-8AC7-1B50F0F008D1}"/>
              </a:ext>
            </a:extLst>
          </p:cNvPr>
          <p:cNvSpPr txBox="1"/>
          <p:nvPr userDrawn="1"/>
        </p:nvSpPr>
        <p:spPr>
          <a:xfrm>
            <a:off x="2831690" y="6351110"/>
            <a:ext cx="906069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100" b="0" i="0" kern="1200" dirty="0">
                <a:solidFill>
                  <a:srgbClr val="002060"/>
                </a:solidFill>
                <a:latin typeface="+mn-lt"/>
                <a:ea typeface="+mn-ea"/>
                <a:cs typeface="Arial" panose="020B0604020202020204" pitchFamily="34" charset="0"/>
              </a:rPr>
              <a:t>Оценка потенциала коммерциализации технологий. Оценка рынка </a:t>
            </a:r>
            <a:r>
              <a:rPr lang="en-US" sz="1100" b="0" i="0" kern="1200" dirty="0">
                <a:solidFill>
                  <a:srgbClr val="002060"/>
                </a:solidFill>
                <a:latin typeface="+mn-lt"/>
                <a:ea typeface="+mn-ea"/>
                <a:cs typeface="Arial" panose="020B0604020202020204" pitchFamily="34" charset="0"/>
              </a:rPr>
              <a:t>| </a:t>
            </a:r>
            <a:fld id="{DF80CF27-B136-41F2-85ED-90F34DDB1631}" type="slidenum">
              <a:rPr lang="ru-RU" sz="1100" smtClean="0">
                <a:solidFill>
                  <a:srgbClr val="002060"/>
                </a:solidFill>
              </a:rPr>
              <a:pPr/>
              <a:t>‹#›</a:t>
            </a:fld>
            <a:endParaRPr lang="ru-RU" sz="1100" b="0" i="0" kern="1200" dirty="0">
              <a:solidFill>
                <a:srgbClr val="002060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9326F2B8-55C4-6348-D524-4DD0D3E185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344"/>
          <a:stretch/>
        </p:blipFill>
        <p:spPr>
          <a:xfrm>
            <a:off x="186706" y="5652327"/>
            <a:ext cx="1061992" cy="960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53083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2" r:id="rId3"/>
    <p:sldLayoutId id="2147483773" r:id="rId4"/>
    <p:sldLayoutId id="2147483775" r:id="rId5"/>
    <p:sldLayoutId id="2147483777" r:id="rId6"/>
    <p:sldLayoutId id="2147483778" r:id="rId7"/>
  </p:sldLayoutIdLst>
  <p:hf hdr="0" dt="0"/>
  <p:txStyles>
    <p:titleStyle>
      <a:lvl1pPr algn="l" defTabSz="609594" rtl="0" eaLnBrk="1" latinLnBrk="0" hangingPunct="1">
        <a:lnSpc>
          <a:spcPct val="90000"/>
        </a:lnSpc>
        <a:spcBef>
          <a:spcPct val="0"/>
        </a:spcBef>
        <a:buNone/>
        <a:defRPr sz="293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52398" indent="-152398" algn="l" defTabSz="609594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195" indent="-152398" algn="l" defTabSz="609594" rtl="0" eaLnBrk="1" latinLnBrk="0" hangingPunct="1">
        <a:lnSpc>
          <a:spcPct val="90000"/>
        </a:lnSpc>
        <a:spcBef>
          <a:spcPts val="334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61992" indent="-152398" algn="l" defTabSz="609594" rtl="0" eaLnBrk="1" latinLnBrk="0" hangingPunct="1">
        <a:lnSpc>
          <a:spcPct val="90000"/>
        </a:lnSpc>
        <a:spcBef>
          <a:spcPts val="334"/>
        </a:spcBef>
        <a:buFont typeface="Arial" panose="020B0604020202020204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3pPr>
      <a:lvl4pPr marL="1066789" indent="-152398" algn="l" defTabSz="609594" rtl="0" eaLnBrk="1" latinLnBrk="0" hangingPunct="1">
        <a:lnSpc>
          <a:spcPct val="90000"/>
        </a:lnSpc>
        <a:spcBef>
          <a:spcPts val="334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86" indent="-152398" algn="l" defTabSz="609594" rtl="0" eaLnBrk="1" latinLnBrk="0" hangingPunct="1">
        <a:lnSpc>
          <a:spcPct val="90000"/>
        </a:lnSpc>
        <a:spcBef>
          <a:spcPts val="334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676383" indent="-152398" algn="l" defTabSz="609594" rtl="0" eaLnBrk="1" latinLnBrk="0" hangingPunct="1">
        <a:lnSpc>
          <a:spcPct val="90000"/>
        </a:lnSpc>
        <a:spcBef>
          <a:spcPts val="334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981180" indent="-152398" algn="l" defTabSz="609594" rtl="0" eaLnBrk="1" latinLnBrk="0" hangingPunct="1">
        <a:lnSpc>
          <a:spcPct val="90000"/>
        </a:lnSpc>
        <a:spcBef>
          <a:spcPts val="334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285977" indent="-152398" algn="l" defTabSz="609594" rtl="0" eaLnBrk="1" latinLnBrk="0" hangingPunct="1">
        <a:lnSpc>
          <a:spcPct val="90000"/>
        </a:lnSpc>
        <a:spcBef>
          <a:spcPts val="334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590774" indent="-152398" algn="l" defTabSz="609594" rtl="0" eaLnBrk="1" latinLnBrk="0" hangingPunct="1">
        <a:lnSpc>
          <a:spcPct val="90000"/>
        </a:lnSpc>
        <a:spcBef>
          <a:spcPts val="334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94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4797" algn="l" defTabSz="609594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09594" algn="l" defTabSz="609594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391" algn="l" defTabSz="609594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19188" algn="l" defTabSz="609594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23985" algn="l" defTabSz="609594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782" algn="l" defTabSz="609594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33578" algn="l" defTabSz="609594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38375" algn="l" defTabSz="609594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5">
            <a:extLst>
              <a:ext uri="{FF2B5EF4-FFF2-40B4-BE49-F238E27FC236}">
                <a16:creationId xmlns:a16="http://schemas.microsoft.com/office/drawing/2014/main" id="{30F5C4DC-D3D7-3D45-8F50-9DEBBE1B6D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54661" t="5712" r="1186"/>
          <a:stretch/>
        </p:blipFill>
        <p:spPr>
          <a:xfrm>
            <a:off x="7288912" y="-17511"/>
            <a:ext cx="4903088" cy="6858000"/>
          </a:xfrm>
          <a:prstGeom prst="rect">
            <a:avLst/>
          </a:prstGeom>
        </p:spPr>
      </p:pic>
      <p:graphicFrame>
        <p:nvGraphicFramePr>
          <p:cNvPr id="5" name="Таблица 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950280889"/>
              </p:ext>
            </p:extLst>
          </p:nvPr>
        </p:nvGraphicFramePr>
        <p:xfrm>
          <a:off x="639" y="-1481377"/>
          <a:ext cx="1814400" cy="1425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2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671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15E67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85E9D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431E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71D4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E1B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CB8B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18FDE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58B6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C068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C40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A773C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4657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A6855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0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DA4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A9A0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BA7BC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7A99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A5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908697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  <p:sldLayoutId id="2147483783" r:id="rId2"/>
  </p:sldLayoutIdLst>
  <p:txStyles>
    <p:titleStyle>
      <a:lvl1pPr algn="l" defTabSz="914391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8" indent="-228598" algn="l" defTabSz="91439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93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89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84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80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75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70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66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61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5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1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86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82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77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72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68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63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>
            <a:extLst>
              <a:ext uri="{FF2B5EF4-FFF2-40B4-BE49-F238E27FC236}">
                <a16:creationId xmlns:a16="http://schemas.microsoft.com/office/drawing/2014/main" id="{AAC36E28-A249-DF40-835B-C0F63A0B717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27261" y="5978515"/>
            <a:ext cx="2042593" cy="861974"/>
          </a:xfrm>
          <a:prstGeom prst="rect">
            <a:avLst/>
          </a:prstGeom>
        </p:spPr>
      </p:pic>
      <p:pic>
        <p:nvPicPr>
          <p:cNvPr id="8" name="Picture 5">
            <a:extLst>
              <a:ext uri="{FF2B5EF4-FFF2-40B4-BE49-F238E27FC236}">
                <a16:creationId xmlns:a16="http://schemas.microsoft.com/office/drawing/2014/main" id="{30F5C4DC-D3D7-3D45-8F50-9DEBBE1B6D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54661" t="5712" r="1186"/>
          <a:stretch/>
        </p:blipFill>
        <p:spPr>
          <a:xfrm>
            <a:off x="7288912" y="-17511"/>
            <a:ext cx="4903088" cy="6858000"/>
          </a:xfrm>
          <a:prstGeom prst="rect">
            <a:avLst/>
          </a:prstGeom>
        </p:spPr>
      </p:pic>
      <p:graphicFrame>
        <p:nvGraphicFramePr>
          <p:cNvPr id="5" name="Таблица 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950280889"/>
              </p:ext>
            </p:extLst>
          </p:nvPr>
        </p:nvGraphicFramePr>
        <p:xfrm>
          <a:off x="639" y="-1481377"/>
          <a:ext cx="1814400" cy="1425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2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671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15E67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85E9D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431E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71D4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E1B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CB8B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18FDE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58B6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C068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C40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A773C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4657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A6855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0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DA4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A9A0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BA7BC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7A99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A5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286972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</p:sldLayoutIdLst>
  <p:txStyles>
    <p:titleStyle>
      <a:lvl1pPr algn="l" defTabSz="914391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8" indent="-228598" algn="l" defTabSz="91439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93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89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84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80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75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70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66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61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5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1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86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82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77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72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68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63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487998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1" imgW="473" imgH="473" progId="TCLayout.ActiveDocument.1">
                  <p:embed/>
                </p:oleObj>
              </mc:Choice>
              <mc:Fallback>
                <p:oleObj name="Слайд think-cell" r:id="rId21" imgW="473" imgH="473" progId="TCLayout.ActiveDocument.1">
                  <p:embed/>
                  <p:pic>
                    <p:nvPicPr>
                      <p:cNvPr id="9" name="Объект 8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68F5E558-41D7-4DE1-83D0-482EA501A423}"/>
              </a:ext>
            </a:extLst>
          </p:cNvPr>
          <p:cNvSpPr/>
          <p:nvPr/>
        </p:nvSpPr>
        <p:spPr>
          <a:xfrm>
            <a:off x="-676103" y="2453359"/>
            <a:ext cx="616349" cy="23271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4B27A9D1-EB15-4EFD-BCAF-1E6E1FCB72FA}"/>
              </a:ext>
            </a:extLst>
          </p:cNvPr>
          <p:cNvSpPr/>
          <p:nvPr/>
        </p:nvSpPr>
        <p:spPr>
          <a:xfrm>
            <a:off x="-676102" y="0"/>
            <a:ext cx="616349" cy="19215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CC436D5-7B0C-4D07-9AE7-F0BAD182A8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CE5AF24D-4B70-422C-B8C9-EA37F18C9B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A46A768B-36DB-4ADA-B2EA-43758883127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AA32CAA-5C70-498B-9A7C-081059EE01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9F26419-2933-41E3-890C-B4EBFB9D48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19701F-51F7-428B-AA3A-0B5D731C629E}" type="slidenum">
              <a:rPr lang="ru-RU" smtClean="0"/>
              <a:t>‹#›</a:t>
            </a:fld>
            <a:endParaRPr lang="ru-RU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348D371F-50D8-4487-A440-8A6C11BAEBBF}"/>
              </a:ext>
            </a:extLst>
          </p:cNvPr>
          <p:cNvSpPr/>
          <p:nvPr/>
        </p:nvSpPr>
        <p:spPr>
          <a:xfrm>
            <a:off x="-568189" y="249749"/>
            <a:ext cx="286357" cy="286357"/>
          </a:xfrm>
          <a:prstGeom prst="rect">
            <a:avLst/>
          </a:prstGeom>
          <a:solidFill>
            <a:srgbClr val="4096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D318B2D7-9235-47A6-95F3-230FA8B51264}"/>
              </a:ext>
            </a:extLst>
          </p:cNvPr>
          <p:cNvSpPr/>
          <p:nvPr/>
        </p:nvSpPr>
        <p:spPr>
          <a:xfrm>
            <a:off x="-568190" y="815809"/>
            <a:ext cx="286357" cy="286357"/>
          </a:xfrm>
          <a:prstGeom prst="rect">
            <a:avLst/>
          </a:prstGeom>
          <a:solidFill>
            <a:srgbClr val="DF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953057F6-26A4-4716-964C-9BB1BC84035F}"/>
              </a:ext>
            </a:extLst>
          </p:cNvPr>
          <p:cNvSpPr/>
          <p:nvPr/>
        </p:nvSpPr>
        <p:spPr>
          <a:xfrm>
            <a:off x="-568190" y="1381869"/>
            <a:ext cx="286357" cy="286357"/>
          </a:xfrm>
          <a:prstGeom prst="rect">
            <a:avLst/>
          </a:prstGeom>
          <a:solidFill>
            <a:srgbClr val="D9DB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197894E2-461A-4C10-9F9B-285A8B9830B4}"/>
              </a:ext>
            </a:extLst>
          </p:cNvPr>
          <p:cNvSpPr/>
          <p:nvPr/>
        </p:nvSpPr>
        <p:spPr>
          <a:xfrm>
            <a:off x="-581507" y="2638766"/>
            <a:ext cx="286357" cy="286357"/>
          </a:xfrm>
          <a:prstGeom prst="rect">
            <a:avLst/>
          </a:prstGeom>
          <a:solidFill>
            <a:srgbClr val="256D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6AA1FF50-6AAC-4176-9892-7A5A0A305ACA}"/>
              </a:ext>
            </a:extLst>
          </p:cNvPr>
          <p:cNvSpPr/>
          <p:nvPr/>
        </p:nvSpPr>
        <p:spPr>
          <a:xfrm>
            <a:off x="-581508" y="3204826"/>
            <a:ext cx="286357" cy="286357"/>
          </a:xfrm>
          <a:prstGeom prst="rect">
            <a:avLst/>
          </a:prstGeom>
          <a:solidFill>
            <a:srgbClr val="8AC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92CBDA4B-06F2-4227-9C68-BF5C18E68E6C}"/>
              </a:ext>
            </a:extLst>
          </p:cNvPr>
          <p:cNvSpPr/>
          <p:nvPr/>
        </p:nvSpPr>
        <p:spPr>
          <a:xfrm>
            <a:off x="-581508" y="3770886"/>
            <a:ext cx="286357" cy="286357"/>
          </a:xfrm>
          <a:prstGeom prst="rect">
            <a:avLst/>
          </a:prstGeom>
          <a:solidFill>
            <a:srgbClr val="A6A9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98EF6033-D0CD-4B46-B5C6-1176E9D297DA}"/>
              </a:ext>
            </a:extLst>
          </p:cNvPr>
          <p:cNvSpPr/>
          <p:nvPr/>
        </p:nvSpPr>
        <p:spPr>
          <a:xfrm>
            <a:off x="-587706" y="4336946"/>
            <a:ext cx="286357" cy="286357"/>
          </a:xfrm>
          <a:prstGeom prst="rect">
            <a:avLst/>
          </a:prstGeom>
          <a:solidFill>
            <a:srgbClr val="F29B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7742CA03-8651-4065-A2BB-84791915E68B}"/>
              </a:ext>
            </a:extLst>
          </p:cNvPr>
          <p:cNvSpPr/>
          <p:nvPr/>
        </p:nvSpPr>
        <p:spPr>
          <a:xfrm>
            <a:off x="-587706" y="5998873"/>
            <a:ext cx="286357" cy="286357"/>
          </a:xfrm>
          <a:prstGeom prst="rect">
            <a:avLst/>
          </a:prstGeom>
          <a:solidFill>
            <a:srgbClr val="C6E6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FCEE384F-406F-409C-BD5B-3CC9636F2749}"/>
              </a:ext>
            </a:extLst>
          </p:cNvPr>
          <p:cNvSpPr/>
          <p:nvPr/>
        </p:nvSpPr>
        <p:spPr>
          <a:xfrm>
            <a:off x="-587706" y="6548690"/>
            <a:ext cx="286357" cy="286357"/>
          </a:xfrm>
          <a:prstGeom prst="rect">
            <a:avLst/>
          </a:prstGeom>
          <a:solidFill>
            <a:srgbClr val="B0AB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3B8049C-3559-4B03-8F19-1DB2F080BB7F}"/>
              </a:ext>
            </a:extLst>
          </p:cNvPr>
          <p:cNvSpPr txBox="1"/>
          <p:nvPr/>
        </p:nvSpPr>
        <p:spPr>
          <a:xfrm rot="16200000">
            <a:off x="-3225965" y="2330249"/>
            <a:ext cx="478047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solidFill>
                  <a:schemeClr val="tx1"/>
                </a:solidFill>
              </a:rPr>
              <a:t>Для удобства окрашивания объектов при использовании «пипетки»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37524A5-36E7-45EF-8051-D787B08FADB2}"/>
              </a:ext>
            </a:extLst>
          </p:cNvPr>
          <p:cNvSpPr txBox="1"/>
          <p:nvPr/>
        </p:nvSpPr>
        <p:spPr>
          <a:xfrm rot="16200000">
            <a:off x="-596599" y="1268845"/>
            <a:ext cx="82747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solidFill>
                  <a:schemeClr val="bg1">
                    <a:lumMod val="65000"/>
                  </a:schemeClr>
                </a:solidFill>
              </a:rPr>
              <a:t>Основная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F21B7D9-9C62-4DE1-915E-81EE7B25F771}"/>
              </a:ext>
            </a:extLst>
          </p:cNvPr>
          <p:cNvSpPr txBox="1"/>
          <p:nvPr/>
        </p:nvSpPr>
        <p:spPr>
          <a:xfrm rot="16200000">
            <a:off x="-829835" y="3967712"/>
            <a:ext cx="129394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solidFill>
                  <a:schemeClr val="bg1">
                    <a:lumMod val="65000"/>
                  </a:schemeClr>
                </a:solidFill>
              </a:rPr>
              <a:t>Дополнительная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9A071F72-822D-44B2-B1C4-5D2A75A2B92A}"/>
              </a:ext>
            </a:extLst>
          </p:cNvPr>
          <p:cNvSpPr txBox="1"/>
          <p:nvPr/>
        </p:nvSpPr>
        <p:spPr>
          <a:xfrm rot="16200000">
            <a:off x="-947655" y="6023726"/>
            <a:ext cx="152958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solidFill>
                  <a:schemeClr val="bg1">
                    <a:lumMod val="65000"/>
                  </a:schemeClr>
                </a:solidFill>
              </a:rPr>
              <a:t>Для редких случаев</a:t>
            </a:r>
          </a:p>
        </p:txBody>
      </p:sp>
    </p:spTree>
    <p:extLst>
      <p:ext uri="{BB962C8B-B14F-4D97-AF65-F5344CB8AC3E}">
        <p14:creationId xmlns:p14="http://schemas.microsoft.com/office/powerpoint/2010/main" val="17947444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786" r:id="rId2"/>
    <p:sldLayoutId id="2147483787" r:id="rId3"/>
    <p:sldLayoutId id="2147483788" r:id="rId4"/>
    <p:sldLayoutId id="2147483789" r:id="rId5"/>
    <p:sldLayoutId id="2147483790" r:id="rId6"/>
    <p:sldLayoutId id="2147483791" r:id="rId7"/>
    <p:sldLayoutId id="2147483792" r:id="rId8"/>
    <p:sldLayoutId id="2147483793" r:id="rId9"/>
    <p:sldLayoutId id="2147483794" r:id="rId10"/>
    <p:sldLayoutId id="2147483795" r:id="rId11"/>
    <p:sldLayoutId id="2147483796" r:id="rId12"/>
    <p:sldLayoutId id="2147483797" r:id="rId13"/>
    <p:sldLayoutId id="2147483798" r:id="rId14"/>
    <p:sldLayoutId id="2147483799" r:id="rId15"/>
    <p:sldLayoutId id="2147483800" r:id="rId16"/>
    <p:sldLayoutId id="2147483801" r:id="rId17"/>
    <p:sldLayoutId id="2147483802" r:id="rId1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377BEF9-965A-4204-9CCB-C8619A479389}" type="datetime1">
              <a:rPr lang="ru-RU" smtClean="0"/>
              <a:t>08.12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CF1AB7-AADD-4E45-9396-E28A777DA3A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790416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4" r:id="rId1"/>
    <p:sldLayoutId id="2147483805" r:id="rId2"/>
    <p:sldLayoutId id="2147483806" r:id="rId3"/>
    <p:sldLayoutId id="2147483807" r:id="rId4"/>
    <p:sldLayoutId id="2147483808" r:id="rId5"/>
    <p:sldLayoutId id="2147483809" r:id="rId6"/>
    <p:sldLayoutId id="2147483810" r:id="rId7"/>
    <p:sldLayoutId id="2147483811" r:id="rId8"/>
    <p:sldLayoutId id="2147483812" r:id="rId9"/>
    <p:sldLayoutId id="2147483813" r:id="rId10"/>
    <p:sldLayoutId id="2147483814" r:id="rId11"/>
    <p:sldLayoutId id="2147483815" r:id="rId12"/>
    <p:sldLayoutId id="2147483816" r:id="rId13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pos="211">
          <p15:clr>
            <a:srgbClr val="F26B43"/>
          </p15:clr>
        </p15:guide>
        <p15:guide id="4" orient="horz" pos="397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316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2">
            <a:extLst>
              <a:ext uri="{FF2B5EF4-FFF2-40B4-BE49-F238E27FC236}">
                <a16:creationId xmlns:a16="http://schemas.microsoft.com/office/drawing/2014/main" id="{895FD436-F904-6E4B-81C3-1588023C07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5956"/>
          <a:stretch/>
        </p:blipFill>
        <p:spPr>
          <a:xfrm>
            <a:off x="-1" y="-1010023"/>
            <a:ext cx="12773026" cy="7868023"/>
          </a:xfrm>
          <a:prstGeom prst="rect">
            <a:avLst/>
          </a:prstGeom>
        </p:spPr>
      </p:pic>
      <p:graphicFrame>
        <p:nvGraphicFramePr>
          <p:cNvPr id="4" name="Таблица 3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950280889"/>
              </p:ext>
            </p:extLst>
          </p:nvPr>
        </p:nvGraphicFramePr>
        <p:xfrm>
          <a:off x="639" y="-1481377"/>
          <a:ext cx="1814400" cy="1425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2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671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15E67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85E9D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431E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71D4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E1B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CB8B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18FDE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58B6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C068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C40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A773C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4657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A6855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0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DA4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A9A0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BA7BC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7A99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A5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129549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</p:sldLayoutIdLst>
  <p:txStyles>
    <p:titleStyle>
      <a:lvl1pPr algn="l" defTabSz="914391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8" indent="-228598" algn="l" defTabSz="91439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93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89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84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80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75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70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66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61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5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1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86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82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77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72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68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63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7">
            <a:extLst>
              <a:ext uri="{FF2B5EF4-FFF2-40B4-BE49-F238E27FC236}">
                <a16:creationId xmlns:a16="http://schemas.microsoft.com/office/drawing/2014/main" id="{2AE7C7CA-9BD6-E64C-88E4-4553BCBC4A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5712" r="1186"/>
          <a:stretch/>
        </p:blipFill>
        <p:spPr>
          <a:xfrm>
            <a:off x="0" y="-1028700"/>
            <a:ext cx="12618720" cy="7886700"/>
          </a:xfrm>
          <a:prstGeom prst="rect">
            <a:avLst/>
          </a:prstGeom>
        </p:spPr>
      </p:pic>
      <p:pic>
        <p:nvPicPr>
          <p:cNvPr id="8" name="Picture 11">
            <a:extLst>
              <a:ext uri="{FF2B5EF4-FFF2-40B4-BE49-F238E27FC236}">
                <a16:creationId xmlns:a16="http://schemas.microsoft.com/office/drawing/2014/main" id="{8929473D-AFF3-6448-95E6-C0634A957E7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28549" y="5280660"/>
            <a:ext cx="3602707" cy="1520342"/>
          </a:xfrm>
          <a:prstGeom prst="rect">
            <a:avLst/>
          </a:prstGeom>
        </p:spPr>
      </p:pic>
      <p:graphicFrame>
        <p:nvGraphicFramePr>
          <p:cNvPr id="4" name="Таблица 3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002038855"/>
              </p:ext>
            </p:extLst>
          </p:nvPr>
        </p:nvGraphicFramePr>
        <p:xfrm>
          <a:off x="639" y="-1481377"/>
          <a:ext cx="1814400" cy="1425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2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671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15E67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85E9D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431E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71D4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E1B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CB8B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18FDE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58B6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C068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C40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A773C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4657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A6855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0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DA4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A9A0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BA7BC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7A99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A5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345C6BB3-B8CF-3297-632B-B1CF058F927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1486" y="209088"/>
            <a:ext cx="1619250" cy="1838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07614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</p:sldLayoutIdLst>
  <p:txStyles>
    <p:titleStyle>
      <a:lvl1pPr algn="l" defTabSz="548640" rtl="0" eaLnBrk="1" latinLnBrk="0" hangingPunct="1">
        <a:lnSpc>
          <a:spcPct val="90000"/>
        </a:lnSpc>
        <a:spcBef>
          <a:spcPct val="0"/>
        </a:spcBef>
        <a:buNone/>
        <a:defRPr sz="264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7160" indent="-137160" algn="l" defTabSz="54864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68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37160" algn="l" defTabSz="548640" rtl="0" eaLnBrk="1" latinLnBrk="0" hangingPunct="1">
        <a:lnSpc>
          <a:spcPct val="90000"/>
        </a:lnSpc>
        <a:spcBef>
          <a:spcPts val="300"/>
        </a:spcBef>
        <a:buFont typeface="Arial" panose="020B0604020202020204" pitchFamily="34" charset="0"/>
        <a:buChar char="•"/>
        <a:defRPr sz="144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137160" algn="l" defTabSz="548640" rtl="0" eaLnBrk="1" latinLnBrk="0" hangingPunct="1">
        <a:lnSpc>
          <a:spcPct val="90000"/>
        </a:lnSpc>
        <a:spcBef>
          <a:spcPts val="3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60120" indent="-137160" algn="l" defTabSz="548640" rtl="0" eaLnBrk="1" latinLnBrk="0" hangingPunct="1">
        <a:lnSpc>
          <a:spcPct val="90000"/>
        </a:lnSpc>
        <a:spcBef>
          <a:spcPts val="300"/>
        </a:spcBef>
        <a:buFont typeface="Arial" panose="020B0604020202020204" pitchFamily="34" charset="0"/>
        <a:buChar char="•"/>
        <a:defRPr sz="1080" kern="1200">
          <a:solidFill>
            <a:schemeClr val="tx1"/>
          </a:solidFill>
          <a:latin typeface="+mn-lt"/>
          <a:ea typeface="+mn-ea"/>
          <a:cs typeface="+mn-cs"/>
        </a:defRPr>
      </a:lvl4pPr>
      <a:lvl5pPr marL="1234440" indent="-137160" algn="l" defTabSz="548640" rtl="0" eaLnBrk="1" latinLnBrk="0" hangingPunct="1">
        <a:lnSpc>
          <a:spcPct val="90000"/>
        </a:lnSpc>
        <a:spcBef>
          <a:spcPts val="300"/>
        </a:spcBef>
        <a:buFont typeface="Arial" panose="020B0604020202020204" pitchFamily="34" charset="0"/>
        <a:buChar char="•"/>
        <a:defRPr sz="1080" kern="1200">
          <a:solidFill>
            <a:schemeClr val="tx1"/>
          </a:solidFill>
          <a:latin typeface="+mn-lt"/>
          <a:ea typeface="+mn-ea"/>
          <a:cs typeface="+mn-cs"/>
        </a:defRPr>
      </a:lvl5pPr>
      <a:lvl6pPr marL="1508760" indent="-137160" algn="l" defTabSz="548640" rtl="0" eaLnBrk="1" latinLnBrk="0" hangingPunct="1">
        <a:lnSpc>
          <a:spcPct val="90000"/>
        </a:lnSpc>
        <a:spcBef>
          <a:spcPts val="300"/>
        </a:spcBef>
        <a:buFont typeface="Arial" panose="020B0604020202020204" pitchFamily="34" charset="0"/>
        <a:buChar char="•"/>
        <a:defRPr sz="1080" kern="1200">
          <a:solidFill>
            <a:schemeClr val="tx1"/>
          </a:solidFill>
          <a:latin typeface="+mn-lt"/>
          <a:ea typeface="+mn-ea"/>
          <a:cs typeface="+mn-cs"/>
        </a:defRPr>
      </a:lvl6pPr>
      <a:lvl7pPr marL="1783080" indent="-137160" algn="l" defTabSz="548640" rtl="0" eaLnBrk="1" latinLnBrk="0" hangingPunct="1">
        <a:lnSpc>
          <a:spcPct val="90000"/>
        </a:lnSpc>
        <a:spcBef>
          <a:spcPts val="300"/>
        </a:spcBef>
        <a:buFont typeface="Arial" panose="020B0604020202020204" pitchFamily="34" charset="0"/>
        <a:buChar char="•"/>
        <a:defRPr sz="1080" kern="1200">
          <a:solidFill>
            <a:schemeClr val="tx1"/>
          </a:solidFill>
          <a:latin typeface="+mn-lt"/>
          <a:ea typeface="+mn-ea"/>
          <a:cs typeface="+mn-cs"/>
        </a:defRPr>
      </a:lvl7pPr>
      <a:lvl8pPr marL="2057400" indent="-137160" algn="l" defTabSz="548640" rtl="0" eaLnBrk="1" latinLnBrk="0" hangingPunct="1">
        <a:lnSpc>
          <a:spcPct val="90000"/>
        </a:lnSpc>
        <a:spcBef>
          <a:spcPts val="300"/>
        </a:spcBef>
        <a:buFont typeface="Arial" panose="020B0604020202020204" pitchFamily="34" charset="0"/>
        <a:buChar char="•"/>
        <a:defRPr sz="1080" kern="1200">
          <a:solidFill>
            <a:schemeClr val="tx1"/>
          </a:solidFill>
          <a:latin typeface="+mn-lt"/>
          <a:ea typeface="+mn-ea"/>
          <a:cs typeface="+mn-cs"/>
        </a:defRPr>
      </a:lvl8pPr>
      <a:lvl9pPr marL="2331720" indent="-137160" algn="l" defTabSz="548640" rtl="0" eaLnBrk="1" latinLnBrk="0" hangingPunct="1">
        <a:lnSpc>
          <a:spcPct val="90000"/>
        </a:lnSpc>
        <a:spcBef>
          <a:spcPts val="300"/>
        </a:spcBef>
        <a:buFont typeface="Arial" panose="020B0604020202020204" pitchFamily="34" charset="0"/>
        <a:buChar char="•"/>
        <a:defRPr sz="108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548640" rtl="0" eaLnBrk="1" latinLnBrk="0" hangingPunct="1">
        <a:defRPr sz="1080" kern="1200">
          <a:solidFill>
            <a:schemeClr val="tx1"/>
          </a:solidFill>
          <a:latin typeface="+mn-lt"/>
          <a:ea typeface="+mn-ea"/>
          <a:cs typeface="+mn-cs"/>
        </a:defRPr>
      </a:lvl1pPr>
      <a:lvl2pPr marL="274320" algn="l" defTabSz="548640" rtl="0" eaLnBrk="1" latinLnBrk="0" hangingPunct="1">
        <a:defRPr sz="108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algn="l" defTabSz="548640" rtl="0" eaLnBrk="1" latinLnBrk="0" hangingPunct="1">
        <a:defRPr sz="1080" kern="1200">
          <a:solidFill>
            <a:schemeClr val="tx1"/>
          </a:solidFill>
          <a:latin typeface="+mn-lt"/>
          <a:ea typeface="+mn-ea"/>
          <a:cs typeface="+mn-cs"/>
        </a:defRPr>
      </a:lvl3pPr>
      <a:lvl4pPr marL="822960" algn="l" defTabSz="548640" rtl="0" eaLnBrk="1" latinLnBrk="0" hangingPunct="1">
        <a:defRPr sz="1080" kern="1200">
          <a:solidFill>
            <a:schemeClr val="tx1"/>
          </a:solidFill>
          <a:latin typeface="+mn-lt"/>
          <a:ea typeface="+mn-ea"/>
          <a:cs typeface="+mn-cs"/>
        </a:defRPr>
      </a:lvl4pPr>
      <a:lvl5pPr marL="1097280" algn="l" defTabSz="548640" rtl="0" eaLnBrk="1" latinLnBrk="0" hangingPunct="1">
        <a:defRPr sz="1080" kern="1200">
          <a:solidFill>
            <a:schemeClr val="tx1"/>
          </a:solidFill>
          <a:latin typeface="+mn-lt"/>
          <a:ea typeface="+mn-ea"/>
          <a:cs typeface="+mn-cs"/>
        </a:defRPr>
      </a:lvl5pPr>
      <a:lvl6pPr marL="1371600" algn="l" defTabSz="548640" rtl="0" eaLnBrk="1" latinLnBrk="0" hangingPunct="1">
        <a:defRPr sz="1080" kern="1200">
          <a:solidFill>
            <a:schemeClr val="tx1"/>
          </a:solidFill>
          <a:latin typeface="+mn-lt"/>
          <a:ea typeface="+mn-ea"/>
          <a:cs typeface="+mn-cs"/>
        </a:defRPr>
      </a:lvl6pPr>
      <a:lvl7pPr marL="1645920" algn="l" defTabSz="548640" rtl="0" eaLnBrk="1" latinLnBrk="0" hangingPunct="1">
        <a:defRPr sz="1080" kern="1200">
          <a:solidFill>
            <a:schemeClr val="tx1"/>
          </a:solidFill>
          <a:latin typeface="+mn-lt"/>
          <a:ea typeface="+mn-ea"/>
          <a:cs typeface="+mn-cs"/>
        </a:defRPr>
      </a:lvl7pPr>
      <a:lvl8pPr marL="1920240" algn="l" defTabSz="548640" rtl="0" eaLnBrk="1" latinLnBrk="0" hangingPunct="1">
        <a:defRPr sz="1080" kern="1200">
          <a:solidFill>
            <a:schemeClr val="tx1"/>
          </a:solidFill>
          <a:latin typeface="+mn-lt"/>
          <a:ea typeface="+mn-ea"/>
          <a:cs typeface="+mn-cs"/>
        </a:defRPr>
      </a:lvl8pPr>
      <a:lvl9pPr marL="2194560" algn="l" defTabSz="548640" rtl="0" eaLnBrk="1" latinLnBrk="0" hangingPunct="1">
        <a:defRPr sz="108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5">
            <a:extLst>
              <a:ext uri="{FF2B5EF4-FFF2-40B4-BE49-F238E27FC236}">
                <a16:creationId xmlns:a16="http://schemas.microsoft.com/office/drawing/2014/main" id="{30F5C4DC-D3D7-3D45-8F50-9DEBBE1B6D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54661" t="5712" r="1186"/>
          <a:stretch/>
        </p:blipFill>
        <p:spPr>
          <a:xfrm>
            <a:off x="7288912" y="-17511"/>
            <a:ext cx="4903088" cy="6858000"/>
          </a:xfrm>
          <a:prstGeom prst="rect">
            <a:avLst/>
          </a:prstGeom>
        </p:spPr>
      </p:pic>
      <p:graphicFrame>
        <p:nvGraphicFramePr>
          <p:cNvPr id="5" name="Таблица 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950280889"/>
              </p:ext>
            </p:extLst>
          </p:nvPr>
        </p:nvGraphicFramePr>
        <p:xfrm>
          <a:off x="639" y="-1481377"/>
          <a:ext cx="1814400" cy="1425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2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671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15E67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85E9D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431E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71D4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E1B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CB8B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18FDE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58B6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C068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C40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A773C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4657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A6855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0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DA4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A9A0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BA7BC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7A99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A5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A5AA5C4E-436F-012F-C03F-5B0E6E5D744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1486" y="209088"/>
            <a:ext cx="1619250" cy="1838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05893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</p:sldLayoutIdLst>
  <p:txStyles>
    <p:titleStyle>
      <a:lvl1pPr algn="l" defTabSz="914391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8" indent="-228598" algn="l" defTabSz="91439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93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89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84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80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75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70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66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61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5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1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86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82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77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72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68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63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5">
            <a:extLst>
              <a:ext uri="{FF2B5EF4-FFF2-40B4-BE49-F238E27FC236}">
                <a16:creationId xmlns:a16="http://schemas.microsoft.com/office/drawing/2014/main" id="{30F5C4DC-D3D7-3D45-8F50-9DEBBE1B6D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54661" t="5712" r="1186"/>
          <a:stretch/>
        </p:blipFill>
        <p:spPr>
          <a:xfrm>
            <a:off x="7288912" y="-17511"/>
            <a:ext cx="4903088" cy="6858000"/>
          </a:xfrm>
          <a:prstGeom prst="rect">
            <a:avLst/>
          </a:prstGeom>
        </p:spPr>
      </p:pic>
      <p:graphicFrame>
        <p:nvGraphicFramePr>
          <p:cNvPr id="5" name="Таблица 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950280889"/>
              </p:ext>
            </p:extLst>
          </p:nvPr>
        </p:nvGraphicFramePr>
        <p:xfrm>
          <a:off x="639" y="-1481377"/>
          <a:ext cx="1814400" cy="1425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2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671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15E67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85E9D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431E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71D4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E1B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CB8B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18FDE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58B6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C068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C40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A773C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4657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A6855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0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DA4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A9A0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BA7BC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7A99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A5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916687E7-FCB0-0B83-A33F-156B5A71485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1486" y="209088"/>
            <a:ext cx="1619250" cy="1838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8240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</p:sldLayoutIdLst>
  <p:txStyles>
    <p:titleStyle>
      <a:lvl1pPr algn="l" defTabSz="914391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8" indent="-228598" algn="l" defTabSz="91439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93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89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84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80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75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70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66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61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5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1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86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82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77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72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68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63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5">
            <a:extLst>
              <a:ext uri="{FF2B5EF4-FFF2-40B4-BE49-F238E27FC236}">
                <a16:creationId xmlns:a16="http://schemas.microsoft.com/office/drawing/2014/main" id="{30F5C4DC-D3D7-3D45-8F50-9DEBBE1B6D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54661" t="5712" r="1186"/>
          <a:stretch/>
        </p:blipFill>
        <p:spPr>
          <a:xfrm>
            <a:off x="7288912" y="-17511"/>
            <a:ext cx="4903088" cy="6858000"/>
          </a:xfrm>
          <a:prstGeom prst="rect">
            <a:avLst/>
          </a:prstGeom>
        </p:spPr>
      </p:pic>
      <p:graphicFrame>
        <p:nvGraphicFramePr>
          <p:cNvPr id="5" name="Таблица 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950280889"/>
              </p:ext>
            </p:extLst>
          </p:nvPr>
        </p:nvGraphicFramePr>
        <p:xfrm>
          <a:off x="639" y="-1481377"/>
          <a:ext cx="1814400" cy="1425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2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671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15E67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85E9D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431E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71D4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E1B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CB8B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18FDE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58B6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C068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C40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A773C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4657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A6855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0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DA4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A9A0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BA7BC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7A99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A5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485529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</p:sldLayoutIdLst>
  <p:txStyles>
    <p:titleStyle>
      <a:lvl1pPr algn="l" defTabSz="914391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8" indent="-228598" algn="l" defTabSz="91439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93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89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84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80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75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70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66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61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5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1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86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82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77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72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68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63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5">
            <a:extLst>
              <a:ext uri="{FF2B5EF4-FFF2-40B4-BE49-F238E27FC236}">
                <a16:creationId xmlns:a16="http://schemas.microsoft.com/office/drawing/2014/main" id="{30F5C4DC-D3D7-3D45-8F50-9DEBBE1B6D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54661" t="5712" r="1186"/>
          <a:stretch/>
        </p:blipFill>
        <p:spPr>
          <a:xfrm>
            <a:off x="7288912" y="-17511"/>
            <a:ext cx="4903088" cy="6858000"/>
          </a:xfrm>
          <a:prstGeom prst="rect">
            <a:avLst/>
          </a:prstGeom>
        </p:spPr>
      </p:pic>
      <p:graphicFrame>
        <p:nvGraphicFramePr>
          <p:cNvPr id="5" name="Таблица 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950280889"/>
              </p:ext>
            </p:extLst>
          </p:nvPr>
        </p:nvGraphicFramePr>
        <p:xfrm>
          <a:off x="639" y="-1481377"/>
          <a:ext cx="1814400" cy="1425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2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671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15E67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85E9D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431E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71D4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E1B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CB8B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18FDE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58B6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C068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C40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A773C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4657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A6855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0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DA4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A9A0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BA7BC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7A99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A5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67110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</p:sldLayoutIdLst>
  <p:txStyles>
    <p:titleStyle>
      <a:lvl1pPr algn="l" defTabSz="914391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8" indent="-228598" algn="l" defTabSz="91439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93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89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84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80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75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70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66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61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5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1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86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82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77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72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68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63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5">
            <a:extLst>
              <a:ext uri="{FF2B5EF4-FFF2-40B4-BE49-F238E27FC236}">
                <a16:creationId xmlns:a16="http://schemas.microsoft.com/office/drawing/2014/main" id="{30F5C4DC-D3D7-3D45-8F50-9DEBBE1B6D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54661" t="5712" r="1186"/>
          <a:stretch/>
        </p:blipFill>
        <p:spPr>
          <a:xfrm>
            <a:off x="7288912" y="-17511"/>
            <a:ext cx="4903088" cy="6858000"/>
          </a:xfrm>
          <a:prstGeom prst="rect">
            <a:avLst/>
          </a:prstGeom>
        </p:spPr>
      </p:pic>
      <p:graphicFrame>
        <p:nvGraphicFramePr>
          <p:cNvPr id="5" name="Таблица 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950280889"/>
              </p:ext>
            </p:extLst>
          </p:nvPr>
        </p:nvGraphicFramePr>
        <p:xfrm>
          <a:off x="639" y="-1481377"/>
          <a:ext cx="1814400" cy="1425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2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024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671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15E67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85E9D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431E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71D4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E1B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CB8B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18FDE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58B6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C068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C40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A773C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4657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A6855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0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1F2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DA4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A9A0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BA7BC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7A99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A5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312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rgbClr val="003162"/>
                        </a:solidFill>
                      </a:endParaRPr>
                    </a:p>
                  </a:txBody>
                  <a:tcPr marL="53260" marR="53260" marT="26630" marB="266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16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016030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</p:sldLayoutIdLst>
  <p:txStyles>
    <p:titleStyle>
      <a:lvl1pPr algn="l" defTabSz="914391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8" indent="-228598" algn="l" defTabSz="91439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93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89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84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80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75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70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66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61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5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1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86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82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77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72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68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63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68.xml"/><Relationship Id="rId1" Type="http://schemas.openxmlformats.org/officeDocument/2006/relationships/tags" Target="../tags/tag2.xml"/><Relationship Id="rId4" Type="http://schemas.openxmlformats.org/officeDocument/2006/relationships/image" Target="../media/image9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8.xml"/><Relationship Id="rId6" Type="http://schemas.openxmlformats.org/officeDocument/2006/relationships/image" Target="../media/image7.png"/><Relationship Id="rId5" Type="http://schemas.openxmlformats.org/officeDocument/2006/relationships/image" Target="../media/image36.emf"/><Relationship Id="rId4" Type="http://schemas.openxmlformats.org/officeDocument/2006/relationships/image" Target="../media/image35.emf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7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slideLayout" Target="../slideLayouts/slideLayout34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7.png"/><Relationship Id="rId4" Type="http://schemas.openxmlformats.org/officeDocument/2006/relationships/image" Target="../media/image3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ustomXml" Target="../ink/ink4.xml"/><Relationship Id="rId13" Type="http://schemas.openxmlformats.org/officeDocument/2006/relationships/image" Target="../media/image160.png"/><Relationship Id="rId18" Type="http://schemas.openxmlformats.org/officeDocument/2006/relationships/image" Target="../media/image7.png"/><Relationship Id="rId3" Type="http://schemas.openxmlformats.org/officeDocument/2006/relationships/image" Target="../media/image11.png"/><Relationship Id="rId7" Type="http://schemas.openxmlformats.org/officeDocument/2006/relationships/image" Target="../media/image130.png"/><Relationship Id="rId12" Type="http://schemas.openxmlformats.org/officeDocument/2006/relationships/customXml" Target="../ink/ink6.xml"/><Relationship Id="rId17" Type="http://schemas.openxmlformats.org/officeDocument/2006/relationships/image" Target="../media/image18.png"/><Relationship Id="rId2" Type="http://schemas.openxmlformats.org/officeDocument/2006/relationships/customXml" Target="../ink/ink1.xml"/><Relationship Id="rId16" Type="http://schemas.openxmlformats.org/officeDocument/2006/relationships/customXml" Target="../ink/ink8.xml"/><Relationship Id="rId1" Type="http://schemas.openxmlformats.org/officeDocument/2006/relationships/slideLayout" Target="../slideLayouts/slideLayout34.xml"/><Relationship Id="rId6" Type="http://schemas.openxmlformats.org/officeDocument/2006/relationships/customXml" Target="../ink/ink3.xml"/><Relationship Id="rId11" Type="http://schemas.openxmlformats.org/officeDocument/2006/relationships/image" Target="../media/image150.png"/><Relationship Id="rId5" Type="http://schemas.openxmlformats.org/officeDocument/2006/relationships/image" Target="../media/image120.png"/><Relationship Id="rId15" Type="http://schemas.openxmlformats.org/officeDocument/2006/relationships/image" Target="../media/image170.png"/><Relationship Id="rId10" Type="http://schemas.openxmlformats.org/officeDocument/2006/relationships/customXml" Target="../ink/ink5.xml"/><Relationship Id="rId4" Type="http://schemas.openxmlformats.org/officeDocument/2006/relationships/customXml" Target="../ink/ink2.xml"/><Relationship Id="rId9" Type="http://schemas.openxmlformats.org/officeDocument/2006/relationships/image" Target="../media/image14.png"/><Relationship Id="rId14" Type="http://schemas.openxmlformats.org/officeDocument/2006/relationships/customXml" Target="../ink/ink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hyperlink" Target="https://repositories.lib.utexas.edu/bitstream/handle/2152/31276/jakobs-2015-co-creation-by-commenting.pdf?sequence=2&amp;isAllowed=y" TargetMode="External"/><Relationship Id="rId1" Type="http://schemas.openxmlformats.org/officeDocument/2006/relationships/slideLayout" Target="../slideLayouts/slideLayout3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tiff"/><Relationship Id="rId1" Type="http://schemas.openxmlformats.org/officeDocument/2006/relationships/slideLayout" Target="../slideLayouts/slideLayout34.xml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96C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73" imgH="473" progId="TCLayout.ActiveDocument.1">
                  <p:embed/>
                </p:oleObj>
              </mc:Choice>
              <mc:Fallback>
                <p:oleObj name="Слайд think-cell" r:id="rId3" imgW="473" imgH="473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Заголовок 7">
            <a:extLst>
              <a:ext uri="{FF2B5EF4-FFF2-40B4-BE49-F238E27FC236}">
                <a16:creationId xmlns:a16="http://schemas.microsoft.com/office/drawing/2014/main" id="{863441BF-0091-40C8-83C3-06E2E52A4C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23592" y="4241412"/>
            <a:ext cx="9073008" cy="1015663"/>
          </a:xfrm>
        </p:spPr>
        <p:txBody>
          <a:bodyPr vert="horz" wrap="square">
            <a:spAutoFit/>
          </a:bodyPr>
          <a:lstStyle/>
          <a:p>
            <a:r>
              <a:rPr lang="ru-RU" sz="2400" dirty="0"/>
              <a:t>ОЦЕНКА КОММЕРЧЕСКОГО ПОТЕНЦИАЛА ТЕХНОЛОГИИ</a:t>
            </a:r>
            <a:br>
              <a:rPr lang="ru-RU" sz="2400" dirty="0"/>
            </a:br>
            <a:br>
              <a:rPr lang="ru-RU" sz="2400" dirty="0"/>
            </a:br>
            <a:r>
              <a:rPr lang="ru-RU" sz="1200" dirty="0"/>
              <a:t>Алексей </a:t>
            </a:r>
            <a:r>
              <a:rPr lang="ru-RU" sz="1200" dirty="0" err="1"/>
              <a:t>филимонов</a:t>
            </a:r>
            <a:r>
              <a:rPr lang="ru-RU" sz="1200" dirty="0"/>
              <a:t>, Исполнительный директор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7152848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515938" y="333375"/>
            <a:ext cx="10515600" cy="770596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ru-RU" sz="3200" b="1" dirty="0">
                <a:solidFill>
                  <a:srgbClr val="003162"/>
                </a:solidFill>
              </a:rPr>
              <a:t>Важность отраслевой экспертизы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4294967295"/>
          </p:nvPr>
        </p:nvSpPr>
        <p:spPr>
          <a:xfrm>
            <a:off x="515938" y="1946275"/>
            <a:ext cx="10864448" cy="4911725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452438" indent="-452438"/>
            <a:r>
              <a:rPr lang="ru-RU" sz="2000" dirty="0"/>
              <a:t>Реальные отраслевые задачи и особенности применения</a:t>
            </a:r>
          </a:p>
          <a:p>
            <a:pPr marL="452438" indent="-452438"/>
            <a:r>
              <a:rPr lang="ru-RU" sz="2000" dirty="0"/>
              <a:t>Особенности бизнес-модели для данного рынка (как, кому </a:t>
            </a:r>
            <a:br>
              <a:rPr lang="ru-RU" sz="2000" dirty="0"/>
            </a:br>
            <a:r>
              <a:rPr lang="ru-RU" sz="2000" dirty="0"/>
              <a:t>и через кого продавать, кто ЛПР, уровень цен и конкуренции </a:t>
            </a:r>
            <a:br>
              <a:rPr lang="ru-RU" sz="2000" dirty="0"/>
            </a:br>
            <a:r>
              <a:rPr lang="ru-RU" sz="2000" dirty="0"/>
              <a:t>и т.п.)</a:t>
            </a:r>
          </a:p>
          <a:p>
            <a:pPr marL="452438" indent="-452438"/>
            <a:r>
              <a:rPr lang="ru-RU" sz="2000" dirty="0"/>
              <a:t>Контакты потенциальных клиентов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2CDE5DB0-C2AD-2B78-8689-C2DDBB7A5C1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82397" y="5871820"/>
            <a:ext cx="886533" cy="829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81553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515937" y="333375"/>
            <a:ext cx="10058399" cy="1252834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ru-RU" sz="3200" b="1" dirty="0">
                <a:solidFill>
                  <a:srgbClr val="003162"/>
                </a:solidFill>
              </a:rPr>
              <a:t>Где и как искать отраслевых экспертов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4294967295"/>
          </p:nvPr>
        </p:nvSpPr>
        <p:spPr>
          <a:xfrm>
            <a:off x="808831" y="1248324"/>
            <a:ext cx="10574337" cy="4911725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539750" indent="-539750">
              <a:spcAft>
                <a:spcPts val="600"/>
              </a:spcAft>
            </a:pPr>
            <a:r>
              <a:rPr lang="ru-RU" dirty="0"/>
              <a:t>Личные контакты и контакты контактов</a:t>
            </a:r>
          </a:p>
          <a:p>
            <a:pPr marL="539750" indent="-539750"/>
            <a:r>
              <a:rPr lang="ru-RU" dirty="0"/>
              <a:t>Публикации и патенты</a:t>
            </a:r>
          </a:p>
          <a:p>
            <a:pPr marL="1168400" lvl="1" indent="-628650">
              <a:spcAft>
                <a:spcPts val="600"/>
              </a:spcAft>
            </a:pPr>
            <a:r>
              <a:rPr lang="ru-RU" dirty="0"/>
              <a:t>В публикациях всегда есть контактная информация</a:t>
            </a:r>
          </a:p>
          <a:p>
            <a:pPr marL="539750" indent="-539750">
              <a:spcAft>
                <a:spcPts val="600"/>
              </a:spcAft>
            </a:pPr>
            <a:r>
              <a:rPr lang="ru-RU" dirty="0"/>
              <a:t>Отраслевые мероприятия (докладчики)</a:t>
            </a:r>
          </a:p>
          <a:p>
            <a:pPr marL="539750" indent="-539750">
              <a:spcAft>
                <a:spcPts val="600"/>
              </a:spcAft>
            </a:pPr>
            <a:r>
              <a:rPr lang="en-US" dirty="0"/>
              <a:t>LinkedIn</a:t>
            </a:r>
            <a:r>
              <a:rPr lang="ru-RU" dirty="0"/>
              <a:t> (</a:t>
            </a:r>
            <a:r>
              <a:rPr lang="ru-RU" sz="2000" dirty="0"/>
              <a:t>запрещен </a:t>
            </a:r>
            <a:r>
              <a:rPr lang="ru-RU" sz="2000" b="0" i="0" dirty="0">
                <a:solidFill>
                  <a:srgbClr val="333333"/>
                </a:solidFill>
                <a:effectLst/>
              </a:rPr>
              <a:t>Роскомнадзором</a:t>
            </a:r>
            <a:r>
              <a:rPr lang="ru-RU" b="0" i="0" dirty="0">
                <a:solidFill>
                  <a:srgbClr val="333333"/>
                </a:solidFill>
                <a:effectLst/>
              </a:rPr>
              <a:t>)</a:t>
            </a:r>
            <a:endParaRPr lang="ru-RU" dirty="0"/>
          </a:p>
          <a:p>
            <a:pPr marL="539750" indent="-539750"/>
            <a:r>
              <a:rPr lang="ru-RU" b="1" dirty="0"/>
              <a:t>Экспертные организации</a:t>
            </a:r>
          </a:p>
          <a:p>
            <a:endParaRPr lang="ru-RU" dirty="0"/>
          </a:p>
          <a:p>
            <a:pPr marL="0" indent="0">
              <a:buNone/>
            </a:pPr>
            <a:r>
              <a:rPr lang="ru-RU" sz="2000" b="1" dirty="0">
                <a:latin typeface="Mont Bold" panose="00000900000000000000" pitchFamily="50" charset="0"/>
              </a:rPr>
              <a:t>Мало кто из экспертов откажется кратко вас проконсультировать, если вы проявите достаточное уважение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95F77207-C544-E3FE-097E-EF4AC69DA2E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82397" y="5871820"/>
            <a:ext cx="886533" cy="829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2050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500754" y="263525"/>
            <a:ext cx="10747467" cy="1114425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ru-RU" sz="2800" b="1" dirty="0">
                <a:solidFill>
                  <a:srgbClr val="003162"/>
                </a:solidFill>
              </a:rPr>
              <a:t>Пример 4 (важность альтернативных применений): Альтернативные применения активированного </a:t>
            </a:r>
            <a:r>
              <a:rPr lang="en-US" sz="2800" b="1" dirty="0" err="1">
                <a:solidFill>
                  <a:srgbClr val="003162"/>
                </a:solidFill>
              </a:rPr>
              <a:t>ZnO</a:t>
            </a:r>
            <a:endParaRPr lang="ru-RU" sz="2800" b="1" dirty="0">
              <a:solidFill>
                <a:srgbClr val="003162"/>
              </a:solidFill>
            </a:endParaRPr>
          </a:p>
        </p:txBody>
      </p:sp>
      <p:pic>
        <p:nvPicPr>
          <p:cNvPr id="10" name="Picture 27">
            <a:extLst>
              <a:ext uri="{FF2B5EF4-FFF2-40B4-BE49-F238E27FC236}">
                <a16:creationId xmlns:a16="http://schemas.microsoft.com/office/drawing/2014/main" id="{A0317C85-07C0-4341-B713-F43CFF5D36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256" b="43491"/>
          <a:stretch>
            <a:fillRect/>
          </a:stretch>
        </p:blipFill>
        <p:spPr bwMode="auto">
          <a:xfrm>
            <a:off x="10024500" y="1195441"/>
            <a:ext cx="1869626" cy="3088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Рисунок 10" descr="Реактор коммерциализации — Википедия">
            <a:extLst>
              <a:ext uri="{FF2B5EF4-FFF2-40B4-BE49-F238E27FC236}">
                <a16:creationId xmlns:a16="http://schemas.microsoft.com/office/drawing/2014/main" id="{170CF25B-1106-4559-9F72-02FD65EAA45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71043" y="1121259"/>
            <a:ext cx="1305696" cy="457199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36419" y="3256296"/>
            <a:ext cx="5155581" cy="2865724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1835" y="1279427"/>
            <a:ext cx="5483691" cy="3010681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836340" y="4181703"/>
            <a:ext cx="620007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/>
              <a:t>Активированный оксид цинка, полученный по технологии </a:t>
            </a:r>
            <a:r>
              <a:rPr lang="en-US" sz="1600" dirty="0"/>
              <a:t>Catalyco, </a:t>
            </a:r>
            <a:r>
              <a:rPr lang="ru-RU" sz="1600" dirty="0"/>
              <a:t>используется как катализатор и абсорбент в нефтехимии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/>
              <a:t>Но крупнейший рынок и направление использования (50% мирового потребления) – активатор в процессах вулканизации для производства шин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/>
              <a:t>Насколько данное технологическое преимущество в принципе важно для данного рынка и что в принципе для него важно?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065698" y="1608099"/>
            <a:ext cx="582842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/>
              <a:t>Технологическое преимущество (удельная площадь поверхности) неоспоримо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/>
              <a:t>Но насколько оно важно для целевых рынков и позволяет получить уникальное конкурентное преимущество?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11BF499-A106-07D1-0783-93A467C772C8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82397" y="5871820"/>
            <a:ext cx="886533" cy="829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27115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60026" y="696961"/>
            <a:ext cx="11143190" cy="886397"/>
          </a:xfrm>
        </p:spPr>
        <p:txBody>
          <a:bodyPr/>
          <a:lstStyle/>
          <a:p>
            <a:r>
              <a:rPr lang="ru-RU" sz="2800" dirty="0">
                <a:solidFill>
                  <a:srgbClr val="003162"/>
                </a:solidFill>
                <a:latin typeface="+mj-lt"/>
                <a:ea typeface="+mj-ea"/>
                <a:cs typeface="+mj-cs"/>
              </a:rPr>
              <a:t>Оценка</a:t>
            </a:r>
            <a:r>
              <a:rPr lang="ru-RU" dirty="0"/>
              <a:t> </a:t>
            </a:r>
            <a:r>
              <a:rPr lang="ru-RU" sz="2800" dirty="0">
                <a:solidFill>
                  <a:srgbClr val="003162"/>
                </a:solidFill>
                <a:latin typeface="+mj-lt"/>
                <a:ea typeface="+mj-ea"/>
                <a:cs typeface="+mj-cs"/>
              </a:rPr>
              <a:t>стоимости технологических активов</a:t>
            </a:r>
            <a:br>
              <a:rPr lang="ru-RU" dirty="0"/>
            </a:br>
            <a:endParaRPr lang="en-US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1973169"/>
              </p:ext>
            </p:extLst>
          </p:nvPr>
        </p:nvGraphicFramePr>
        <p:xfrm>
          <a:off x="360026" y="1399385"/>
          <a:ext cx="10906688" cy="4452519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14974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596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5408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CF</a:t>
                      </a:r>
                      <a:endParaRPr lang="ru-RU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Аналоговый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Затратный</a:t>
                      </a:r>
                    </a:p>
                  </a:txBody>
                  <a:tcPr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07398">
                <a:tc>
                  <a:txBody>
                    <a:bodyPr/>
                    <a:lstStyle/>
                    <a:p>
                      <a:r>
                        <a:rPr lang="ru-RU" sz="16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Как считается</a:t>
                      </a:r>
                    </a:p>
                  </a:txBody>
                  <a:tcPr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Дисконтированные финансовые</a:t>
                      </a:r>
                      <a:r>
                        <a:rPr lang="ru-RU" sz="16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 потоки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6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Есть модифицированные методы, применяемые в венчурных сделках</a:t>
                      </a:r>
                      <a:endParaRPr lang="ru-RU" sz="16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Аналогичные</a:t>
                      </a:r>
                      <a:r>
                        <a:rPr lang="ru-RU" sz="16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 сделки, мультипликаторы (к прибыли\выручке\ </a:t>
                      </a:r>
                      <a:r>
                        <a:rPr lang="en-US" sz="16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EBITDA)</a:t>
                      </a:r>
                      <a:endParaRPr lang="ru-RU" sz="16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Затраты на создание активов</a:t>
                      </a:r>
                    </a:p>
                  </a:txBody>
                  <a:tcPr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79361">
                <a:tc>
                  <a:txBody>
                    <a:bodyPr/>
                    <a:lstStyle/>
                    <a:p>
                      <a:r>
                        <a:rPr lang="ru-RU" sz="16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Где</a:t>
                      </a:r>
                      <a:r>
                        <a:rPr lang="ru-RU" sz="1600" b="1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 применяется</a:t>
                      </a:r>
                      <a:endParaRPr lang="ru-RU" sz="16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На поздних стадиях,</a:t>
                      </a:r>
                      <a:r>
                        <a:rPr lang="ru-RU" sz="16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 при наличии исторических финансовых данных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6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Как оценка потенциального роста(оценка сверху)</a:t>
                      </a:r>
                      <a:endParaRPr lang="ru-RU" sz="16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Оценка</a:t>
                      </a:r>
                      <a:r>
                        <a:rPr lang="ru-RU" sz="16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 </a:t>
                      </a:r>
                      <a:r>
                        <a:rPr lang="ru-RU" sz="1600" baseline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стартапов</a:t>
                      </a:r>
                      <a:r>
                        <a:rPr lang="ru-RU" sz="16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 ранних стадий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6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Венчурные сделки</a:t>
                      </a:r>
                      <a:endParaRPr lang="ru-RU" sz="16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Ликвидация,</a:t>
                      </a:r>
                      <a:r>
                        <a:rPr lang="ru-RU" sz="16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 покупка кризисных активов и т.д.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6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Когда время воссоздания актива не важно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6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Как оценка снизу (но это не всегда!)</a:t>
                      </a:r>
                      <a:endParaRPr lang="ru-RU" sz="16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3954556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515938" y="3557853"/>
            <a:ext cx="5580062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1400" b="1" dirty="0">
                <a:latin typeface="+mj-lt"/>
                <a:cs typeface="Arial" panose="020B0604020202020204" pitchFamily="34" charset="0"/>
              </a:rPr>
              <a:t>АЛЕКСЕЙ ФИЛИМОНОВ</a:t>
            </a:r>
            <a:endParaRPr lang="ru-RU" sz="1400" b="1" dirty="0">
              <a:latin typeface="+mj-lt"/>
              <a:cs typeface="Arial" panose="020B0604020202020204" pitchFamily="34" charset="0"/>
            </a:endParaRPr>
          </a:p>
          <a:p>
            <a:r>
              <a:rPr lang="ru-RU" sz="1400" dirty="0">
                <a:cs typeface="Arial" panose="020B0604020202020204" pitchFamily="34" charset="0"/>
              </a:rPr>
              <a:t>Исполнительный директор НАТТ</a:t>
            </a:r>
          </a:p>
          <a:p>
            <a:r>
              <a:rPr lang="en-US" sz="1400" dirty="0">
                <a:cs typeface="Arial" panose="020B0604020202020204" pitchFamily="34" charset="0"/>
              </a:rPr>
              <a:t>+79153862525</a:t>
            </a:r>
            <a:endParaRPr lang="ru-RU" sz="1400" dirty="0">
              <a:cs typeface="Arial" panose="020B0604020202020204" pitchFamily="34" charset="0"/>
            </a:endParaRPr>
          </a:p>
          <a:p>
            <a:r>
              <a:rPr lang="en-US" sz="1400">
                <a:cs typeface="Arial" panose="020B0604020202020204" pitchFamily="34" charset="0"/>
              </a:rPr>
              <a:t>af@</a:t>
            </a:r>
            <a:r>
              <a:rPr lang="en-US" sz="1400" dirty="0">
                <a:cs typeface="Arial" panose="020B0604020202020204" pitchFamily="34" charset="0"/>
              </a:rPr>
              <a:t>rusnatt.ru</a:t>
            </a:r>
            <a:endParaRPr lang="en-US" sz="1400" dirty="0">
              <a:cs typeface="Open San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A18FE93-AAD0-FD3D-CD61-EA5E40961ED6}"/>
              </a:ext>
            </a:extLst>
          </p:cNvPr>
          <p:cNvSpPr txBox="1"/>
          <p:nvPr/>
        </p:nvSpPr>
        <p:spPr>
          <a:xfrm>
            <a:off x="3046142" y="2096308"/>
            <a:ext cx="6099716" cy="6617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altLang="ko-KR" sz="4000" b="1" dirty="0">
                <a:solidFill>
                  <a:srgbClr val="003162"/>
                </a:solidFill>
                <a:latin typeface="+mj-lt"/>
                <a:ea typeface="맑은 고딕" pitchFamily="50" charset="-127"/>
                <a:cs typeface="Arial" pitchFamily="34" charset="0"/>
              </a:rPr>
              <a:t>Вопросы?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2CB696CE-40CD-8868-C8C9-613731904DC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82397" y="5871820"/>
            <a:ext cx="886533" cy="829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75261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515938" y="333375"/>
            <a:ext cx="10093324" cy="725260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ru-RU" sz="3600" b="1" dirty="0">
                <a:solidFill>
                  <a:srgbClr val="003162"/>
                </a:solidFill>
              </a:rPr>
              <a:t>Как на самом деле происходят инновации </a:t>
            </a:r>
            <a:br>
              <a:rPr lang="en-US" sz="3600" b="1" dirty="0">
                <a:solidFill>
                  <a:srgbClr val="003162"/>
                </a:solidFill>
              </a:rPr>
            </a:br>
            <a:r>
              <a:rPr lang="ru-RU" sz="3600" b="1" dirty="0">
                <a:solidFill>
                  <a:srgbClr val="003162"/>
                </a:solidFill>
              </a:rPr>
              <a:t>в корпорациях?</a:t>
            </a: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499817835"/>
              </p:ext>
            </p:extLst>
          </p:nvPr>
        </p:nvGraphicFramePr>
        <p:xfrm>
          <a:off x="0" y="1281113"/>
          <a:ext cx="6005513" cy="40195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5563518" y="1058635"/>
            <a:ext cx="5642869" cy="40472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dirty="0"/>
              <a:t>Технологические и бизнес-прорывы не являются результатом развития какой</a:t>
            </a:r>
            <a:r>
              <a:rPr lang="en-US" dirty="0"/>
              <a:t>-</a:t>
            </a:r>
            <a:r>
              <a:rPr lang="ru-RU" dirty="0"/>
              <a:t>то одной технологии, а следствием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Кросс-отраслевого взаимодействия, развития партнерских сообществ и экосистемы с целью расширения «корпоративного кругозора»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Рекомбинации существующих технологических решений для создания новых рынков, отраслей и продуктов</a:t>
            </a:r>
          </a:p>
          <a:p>
            <a:pPr algn="r"/>
            <a:endParaRPr lang="ru-RU" dirty="0"/>
          </a:p>
          <a:p>
            <a:pPr algn="r"/>
            <a:r>
              <a:rPr lang="en-US" b="1" dirty="0">
                <a:latin typeface="+mj-lt"/>
              </a:rPr>
              <a:t>Source:</a:t>
            </a:r>
            <a:r>
              <a:rPr lang="en-US" dirty="0">
                <a:latin typeface="+mj-lt"/>
              </a:rPr>
              <a:t> </a:t>
            </a:r>
            <a:r>
              <a:rPr lang="en-US" dirty="0"/>
              <a:t>Andrew </a:t>
            </a:r>
            <a:r>
              <a:rPr lang="en-US" dirty="0" err="1"/>
              <a:t>Hargadon</a:t>
            </a:r>
            <a:r>
              <a:rPr lang="en-US" dirty="0"/>
              <a:t> ” How Breakthroughs Happen: The Surprising Truth About How Companies Innovate”</a:t>
            </a:r>
            <a:endParaRPr lang="ru-RU" dirty="0"/>
          </a:p>
        </p:txBody>
      </p:sp>
      <p:sp>
        <p:nvSpPr>
          <p:cNvPr id="6" name="TextBox 5"/>
          <p:cNvSpPr txBox="1"/>
          <p:nvPr/>
        </p:nvSpPr>
        <p:spPr>
          <a:xfrm>
            <a:off x="547849" y="5357297"/>
            <a:ext cx="1109328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sz="1400" dirty="0"/>
              <a:t>Технологии не существуют сами по себе, а погружены в контекст: применение, люди, другие технологии и их физическое воплощение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sz="1400" dirty="0"/>
              <a:t>Инновационный процесс – это процесс соединения в новых комбинациях технологий, их</a:t>
            </a:r>
            <a:r>
              <a:rPr lang="en-US" sz="1400" dirty="0"/>
              <a:t> </a:t>
            </a:r>
            <a:r>
              <a:rPr lang="ru-RU" sz="1400" dirty="0"/>
              <a:t>разработчиков, областей их применения и построение связей и сообществ между и вокруг этих комбинаций</a:t>
            </a:r>
            <a:endParaRPr lang="ru-RU" sz="1400" b="1" dirty="0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96E9761F-3332-54D1-98E3-0061C7CFE19D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82397" y="5871820"/>
            <a:ext cx="886533" cy="829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47203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515938" y="333375"/>
            <a:ext cx="10657584" cy="1104900"/>
          </a:xfrm>
          <a:prstGeom prst="rect">
            <a:avLst/>
          </a:prstGeom>
        </p:spPr>
        <p:txBody>
          <a:bodyPr/>
          <a:lstStyle/>
          <a:p>
            <a:r>
              <a:rPr lang="ru-RU" sz="3200" b="1" dirty="0">
                <a:solidFill>
                  <a:srgbClr val="003162"/>
                </a:solidFill>
              </a:rPr>
              <a:t>Оценка коммерческого потенциала технологии это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4294967295"/>
          </p:nvPr>
        </p:nvSpPr>
        <p:spPr>
          <a:xfrm>
            <a:off x="515938" y="1317539"/>
            <a:ext cx="10515600" cy="4011613"/>
          </a:xfrm>
          <a:prstGeom prst="rect">
            <a:avLst/>
          </a:prstGeom>
        </p:spPr>
        <p:txBody>
          <a:bodyPr>
            <a:normAutofit fontScale="92500"/>
          </a:bodyPr>
          <a:lstStyle/>
          <a:p>
            <a:pPr marL="0" indent="0">
              <a:buNone/>
            </a:pPr>
            <a:r>
              <a:rPr lang="ru-RU" sz="2400" b="1" dirty="0">
                <a:latin typeface="+mj-lt"/>
              </a:rPr>
              <a:t>Гораздо больше, чем просто оценка рынка:</a:t>
            </a:r>
            <a:endParaRPr lang="ru-RU" sz="2400" b="1" i="1" dirty="0">
              <a:latin typeface="+mj-lt"/>
            </a:endParaRPr>
          </a:p>
          <a:p>
            <a:r>
              <a:rPr lang="ru-RU" sz="2400" i="1" dirty="0"/>
              <a:t>Оценка технологической конкурентоспособности и преимуществ</a:t>
            </a:r>
          </a:p>
          <a:p>
            <a:pPr lvl="1"/>
            <a:r>
              <a:rPr lang="ru-RU" sz="2000" dirty="0"/>
              <a:t>Без высокой технологической конкурентоспособности коммерческий потенциал стремится к «0»</a:t>
            </a:r>
            <a:endParaRPr lang="en-US" sz="2000" dirty="0"/>
          </a:p>
          <a:p>
            <a:r>
              <a:rPr lang="ru-RU" sz="2400" dirty="0"/>
              <a:t>Поиск и выбор областей применения технологий</a:t>
            </a:r>
          </a:p>
          <a:p>
            <a:r>
              <a:rPr lang="ru-RU" sz="2400" dirty="0"/>
              <a:t>Оценка связанных с этими применениями сегментов рынка </a:t>
            </a:r>
          </a:p>
          <a:p>
            <a:r>
              <a:rPr lang="ru-RU" sz="2400" dirty="0" err="1"/>
              <a:t>Валидация</a:t>
            </a:r>
            <a:r>
              <a:rPr lang="ru-RU" sz="2400" dirty="0"/>
              <a:t> гипотез коммерциализации (сегмент рынка, ценностное предложение, бизнес-модель…)</a:t>
            </a:r>
          </a:p>
          <a:p>
            <a:pPr lvl="1"/>
            <a:r>
              <a:rPr lang="ru-RU" sz="2000" dirty="0"/>
              <a:t>Самостоятельно: </a:t>
            </a:r>
            <a:r>
              <a:rPr lang="en-US" sz="2000" dirty="0"/>
              <a:t>Customer development</a:t>
            </a:r>
          </a:p>
          <a:p>
            <a:pPr lvl="1"/>
            <a:r>
              <a:rPr lang="ru-RU" sz="2000" dirty="0"/>
              <a:t>Силами внешних экспертов: </a:t>
            </a:r>
            <a:r>
              <a:rPr lang="en-US" sz="2000" dirty="0" err="1"/>
              <a:t>Quicklook</a:t>
            </a:r>
            <a:endParaRPr lang="ru-RU" sz="2000" dirty="0"/>
          </a:p>
          <a:p>
            <a:r>
              <a:rPr lang="ru-RU" sz="2400" dirty="0"/>
              <a:t>Оценка рыночной готовности (=готовности к коммерциализации)</a:t>
            </a:r>
            <a:endParaRPr lang="en-US" sz="2400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1486740" y="5237621"/>
            <a:ext cx="954014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Ответ на эти вопросы позволяет в конечном итоге выработать оптимальную стратегию развития проекта с учетом контекста (применение, модель коммерциализации, доступ к клиентской базе, объемы рынков, финансирование, админресурс и т.п.)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8208DBC4-D5B7-A218-0DF6-CE7C83412A5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82397" y="5871820"/>
            <a:ext cx="886533" cy="829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61231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2"/>
          <p:cNvSpPr txBox="1">
            <a:spLocks noChangeArrowheads="1"/>
          </p:cNvSpPr>
          <p:nvPr/>
        </p:nvSpPr>
        <p:spPr>
          <a:xfrm>
            <a:off x="515938" y="333375"/>
            <a:ext cx="11118390" cy="1293912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spcAft>
                <a:spcPts val="0"/>
              </a:spcAft>
              <a:buNone/>
              <a:defRPr sz="2400" b="1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ru-RU" altLang="ru-RU" sz="3200" dirty="0">
                <a:solidFill>
                  <a:srgbClr val="003162"/>
                </a:solidFill>
                <a:latin typeface="Mont Bold" panose="00000900000000000000" pitchFamily="50" charset="0"/>
                <a:ea typeface="Open Sans Semibold" charset="0"/>
                <a:cs typeface="Arial" panose="020B0604020202020204" pitchFamily="34" charset="0"/>
              </a:rPr>
              <a:t>Пример 1: Оценка коммерциализуемости результатов проектов ФЦП «Развитие ЭКБ» </a:t>
            </a:r>
            <a:br>
              <a:rPr lang="ru-RU" altLang="ru-RU" sz="3200" dirty="0">
                <a:solidFill>
                  <a:srgbClr val="003162"/>
                </a:solidFill>
                <a:latin typeface="Mont Bold" panose="00000900000000000000" pitchFamily="50" charset="0"/>
                <a:ea typeface="Open Sans Semibold" charset="0"/>
                <a:cs typeface="Arial" panose="020B0604020202020204" pitchFamily="34" charset="0"/>
              </a:rPr>
            </a:br>
            <a:r>
              <a:rPr lang="ru-RU" altLang="ru-RU" sz="3200" dirty="0">
                <a:solidFill>
                  <a:srgbClr val="003162"/>
                </a:solidFill>
                <a:latin typeface="Mont Bold" panose="00000900000000000000" pitchFamily="50" charset="0"/>
                <a:ea typeface="Open Sans Semibold" charset="0"/>
                <a:cs typeface="Arial" panose="020B0604020202020204" pitchFamily="34" charset="0"/>
              </a:rPr>
              <a:t>по заказу ВЭБ</a:t>
            </a:r>
          </a:p>
        </p:txBody>
      </p:sp>
      <p:pic>
        <p:nvPicPr>
          <p:cNvPr id="9" name="Picture 2" descr="Картинки по запросу вэб логотип 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61079" y="1419246"/>
            <a:ext cx="1420220" cy="416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8" descr="Картинки по запросу фгбну дирекция научно-технических программ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9718" y="1363228"/>
            <a:ext cx="532517" cy="5281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Объект 2"/>
          <p:cNvSpPr>
            <a:spLocks noGrp="1"/>
          </p:cNvSpPr>
          <p:nvPr>
            <p:ph idx="4294967295"/>
          </p:nvPr>
        </p:nvSpPr>
        <p:spPr>
          <a:xfrm>
            <a:off x="892790" y="2084752"/>
            <a:ext cx="10748348" cy="4229100"/>
          </a:xfrm>
          <a:prstGeom prst="rect">
            <a:avLst/>
          </a:prstGeom>
        </p:spPr>
        <p:txBody>
          <a:bodyPr>
            <a:noAutofit/>
          </a:bodyPr>
          <a:lstStyle/>
          <a:p>
            <a:pPr>
              <a:lnSpc>
                <a:spcPct val="110000"/>
              </a:lnSpc>
            </a:pPr>
            <a:r>
              <a:rPr lang="ru-RU" sz="1600" b="1" dirty="0">
                <a:solidFill>
                  <a:schemeClr val="tx1"/>
                </a:solidFill>
                <a:latin typeface="Mont Bold" panose="00000900000000000000" pitchFamily="50" charset="0"/>
                <a:cs typeface="Calibri" panose="020F0502020204030204" pitchFamily="34" charset="0"/>
              </a:rPr>
              <a:t>Проведение технологической и коммерческой экспертиз 127 проектов ФЦП «Развитие электронной компонентной базы и радиоэлектроники» на 2008 – 2015 годы (ФЦП ЭКБ) по заказу Внешэкономбанка по поручению Председателя Правительства РФ</a:t>
            </a:r>
          </a:p>
          <a:p>
            <a:pPr>
              <a:lnSpc>
                <a:spcPct val="110000"/>
              </a:lnSpc>
            </a:pPr>
            <a:r>
              <a:rPr lang="ru-RU" sz="1600" b="1" dirty="0">
                <a:solidFill>
                  <a:schemeClr val="tx1"/>
                </a:solidFill>
                <a:latin typeface="Mont Bold" panose="00000900000000000000" pitchFamily="50" charset="0"/>
                <a:cs typeface="Calibri" panose="020F0502020204030204" pitchFamily="34" charset="0"/>
              </a:rPr>
              <a:t>Научно-техническая экспертиза </a:t>
            </a:r>
            <a:r>
              <a:rPr lang="ru-RU" sz="1600" dirty="0">
                <a:solidFill>
                  <a:schemeClr val="tx1"/>
                </a:solidFill>
                <a:latin typeface="Mont Light" panose="00000500000000000000" pitchFamily="50" charset="0"/>
                <a:cs typeface="Calibri" panose="020F0502020204030204" pitchFamily="34" charset="0"/>
              </a:rPr>
              <a:t>включала анализ технологической перспективности и потенциала разработки, ее соответствия мировому уровню. </a:t>
            </a:r>
            <a:endParaRPr lang="ru-RU" sz="1600" b="1" dirty="0">
              <a:solidFill>
                <a:schemeClr val="tx1"/>
              </a:solidFill>
              <a:latin typeface="Mont Light" panose="00000500000000000000" pitchFamily="50" charset="0"/>
              <a:cs typeface="Calibri" panose="020F0502020204030204" pitchFamily="34" charset="0"/>
            </a:endParaRPr>
          </a:p>
          <a:p>
            <a:pPr>
              <a:lnSpc>
                <a:spcPct val="110000"/>
              </a:lnSpc>
              <a:buClr>
                <a:schemeClr val="accent1"/>
              </a:buClr>
            </a:pPr>
            <a:r>
              <a:rPr lang="ru-RU" sz="1600" b="1" dirty="0">
                <a:solidFill>
                  <a:schemeClr val="tx1"/>
                </a:solidFill>
                <a:latin typeface="Mont Bold" panose="00000900000000000000" pitchFamily="50" charset="0"/>
                <a:cs typeface="Calibri" panose="020F0502020204030204" pitchFamily="34" charset="0"/>
              </a:rPr>
              <a:t>Коммерческая экспертиза </a:t>
            </a:r>
            <a:r>
              <a:rPr lang="ru-RU" sz="1600" dirty="0">
                <a:solidFill>
                  <a:schemeClr val="tx1"/>
                </a:solidFill>
                <a:latin typeface="Mont Light" panose="00000500000000000000" pitchFamily="50" charset="0"/>
                <a:cs typeface="Calibri" panose="020F0502020204030204" pitchFamily="34" charset="0"/>
              </a:rPr>
              <a:t>выполнялась с привлечением технологических брокеров АБИТ, по методике, разработанной с их участием, и включала оценку следующих параметров:</a:t>
            </a:r>
          </a:p>
          <a:p>
            <a:pPr lvl="1">
              <a:lnSpc>
                <a:spcPct val="110000"/>
              </a:lnSpc>
              <a:buClr>
                <a:schemeClr val="accent1"/>
              </a:buClr>
            </a:pPr>
            <a:r>
              <a:rPr lang="ru-RU" sz="1600" dirty="0">
                <a:latin typeface="Mont Light" panose="00000500000000000000" pitchFamily="50" charset="0"/>
                <a:cs typeface="Calibri" panose="020F0502020204030204" pitchFamily="34" charset="0"/>
              </a:rPr>
              <a:t>Востребованность и конкурентоспособность (на российском и зарубежных рынках)</a:t>
            </a:r>
          </a:p>
          <a:p>
            <a:pPr lvl="1">
              <a:lnSpc>
                <a:spcPct val="110000"/>
              </a:lnSpc>
              <a:buClr>
                <a:schemeClr val="accent1"/>
              </a:buClr>
            </a:pPr>
            <a:r>
              <a:rPr lang="ru-RU" sz="1600" dirty="0">
                <a:latin typeface="Mont Light" panose="00000500000000000000" pitchFamily="50" charset="0"/>
                <a:cs typeface="Calibri" panose="020F0502020204030204" pitchFamily="34" charset="0"/>
              </a:rPr>
              <a:t>Модель коммерциализации и возможные сроки ее начала</a:t>
            </a:r>
          </a:p>
          <a:p>
            <a:pPr lvl="1">
              <a:lnSpc>
                <a:spcPct val="110000"/>
              </a:lnSpc>
              <a:buClr>
                <a:schemeClr val="accent1"/>
              </a:buClr>
            </a:pPr>
            <a:r>
              <a:rPr lang="ru-RU" sz="1600" dirty="0">
                <a:latin typeface="Mont Light" panose="00000500000000000000" pitchFamily="50" charset="0"/>
                <a:cs typeface="Calibri" panose="020F0502020204030204" pitchFamily="34" charset="0"/>
              </a:rPr>
              <a:t>Достаточность инфраструктуры исполнителя</a:t>
            </a:r>
          </a:p>
          <a:p>
            <a:pPr lvl="1">
              <a:lnSpc>
                <a:spcPct val="110000"/>
              </a:lnSpc>
              <a:buClr>
                <a:schemeClr val="accent1"/>
              </a:buClr>
            </a:pPr>
            <a:r>
              <a:rPr lang="ru-RU" sz="1600" dirty="0">
                <a:latin typeface="Mont Light" panose="00000500000000000000" pitchFamily="50" charset="0"/>
                <a:cs typeface="Calibri" panose="020F0502020204030204" pitchFamily="34" charset="0"/>
              </a:rPr>
              <a:t>Потенциальные покупатели, рынки применения, локализация производства</a:t>
            </a:r>
          </a:p>
          <a:p>
            <a:pPr lvl="1">
              <a:lnSpc>
                <a:spcPct val="110000"/>
              </a:lnSpc>
              <a:buClr>
                <a:schemeClr val="accent1"/>
              </a:buClr>
            </a:pPr>
            <a:r>
              <a:rPr lang="ru-RU" sz="1600" dirty="0">
                <a:latin typeface="Mont Light" panose="00000500000000000000" pitchFamily="50" charset="0"/>
                <a:cs typeface="Calibri" panose="020F0502020204030204" pitchFamily="34" charset="0"/>
              </a:rPr>
              <a:t>Факторы, сдерживающие коммерциализацию</a:t>
            </a:r>
          </a:p>
          <a:p>
            <a:pPr lvl="1">
              <a:lnSpc>
                <a:spcPct val="110000"/>
              </a:lnSpc>
              <a:buClr>
                <a:schemeClr val="accent1"/>
              </a:buClr>
            </a:pPr>
            <a:r>
              <a:rPr lang="ru-RU" sz="1600" dirty="0">
                <a:latin typeface="Mont Light" panose="00000500000000000000" pitchFamily="50" charset="0"/>
                <a:cs typeface="Calibri" panose="020F0502020204030204" pitchFamily="34" charset="0"/>
              </a:rPr>
              <a:t>Возможные эффекты от коммерциализации</a:t>
            </a:r>
          </a:p>
          <a:p>
            <a:pPr lvl="1">
              <a:lnSpc>
                <a:spcPct val="110000"/>
              </a:lnSpc>
              <a:buClr>
                <a:schemeClr val="accent1"/>
              </a:buClr>
            </a:pPr>
            <a:r>
              <a:rPr lang="ru-RU" sz="1600" dirty="0">
                <a:latin typeface="Mont Light" panose="00000500000000000000" pitchFamily="50" charset="0"/>
                <a:cs typeface="Calibri" panose="020F0502020204030204" pitchFamily="34" charset="0"/>
              </a:rPr>
              <a:t>Необходимое финансирование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570754CC-7BAB-F85E-6240-C0E5C4E857CE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82397" y="5871820"/>
            <a:ext cx="886533" cy="829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25766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 idx="4294967295"/>
          </p:nvPr>
        </p:nvSpPr>
        <p:spPr>
          <a:xfrm>
            <a:off x="515937" y="333375"/>
            <a:ext cx="10203043" cy="1325563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ru-RU" sz="3200" b="1" dirty="0">
                <a:solidFill>
                  <a:srgbClr val="003162"/>
                </a:solidFill>
              </a:rPr>
              <a:t>Отличие экспертизы проектов ФЦП ЭКБ и РЭ для ВЭБ от традиционных экспертиз</a:t>
            </a:r>
          </a:p>
        </p:txBody>
      </p:sp>
      <p:sp>
        <p:nvSpPr>
          <p:cNvPr id="4" name="Объект 3"/>
          <p:cNvSpPr>
            <a:spLocks noGrp="1"/>
          </p:cNvSpPr>
          <p:nvPr>
            <p:ph idx="4294967295"/>
          </p:nvPr>
        </p:nvSpPr>
        <p:spPr>
          <a:xfrm>
            <a:off x="515937" y="1658938"/>
            <a:ext cx="10341186" cy="4351338"/>
          </a:xfrm>
          <a:prstGeom prst="rect">
            <a:avLst/>
          </a:prstGeom>
        </p:spPr>
        <p:txBody>
          <a:bodyPr>
            <a:normAutofit fontScale="92500"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ru-RU" sz="2400" dirty="0"/>
              <a:t>Качественным отличием от традиционных экспертиз коммерческого\инвестиционного потенциала, проводимых институтами развития являются:</a:t>
            </a:r>
          </a:p>
          <a:p>
            <a:pPr marL="452438" lvl="0" indent="-452438"/>
            <a:r>
              <a:rPr lang="ru-RU" sz="2400" dirty="0"/>
              <a:t>Прямой контакт эксперта с проектом в форме структурированного интервью и анкеты как результата интервью</a:t>
            </a:r>
          </a:p>
          <a:p>
            <a:pPr marL="452438" lvl="0" indent="-452438"/>
            <a:r>
              <a:rPr lang="ru-RU" sz="2400" dirty="0"/>
              <a:t>Прямое участие эксперта в выборе </a:t>
            </a:r>
            <a:r>
              <a:rPr lang="ru-RU" sz="2400" dirty="0" err="1"/>
              <a:t>экспертируемого</a:t>
            </a:r>
            <a:r>
              <a:rPr lang="ru-RU" sz="2400" dirty="0"/>
              <a:t> объекта</a:t>
            </a:r>
          </a:p>
          <a:p>
            <a:pPr marL="452438" lvl="0" indent="-452438"/>
            <a:r>
              <a:rPr lang="ru-RU" sz="2400" dirty="0"/>
              <a:t>Фокус на выявление конкретных фактов – сравнение аналогов, численные оценки рынков и необходимых инвестиций</a:t>
            </a:r>
          </a:p>
          <a:p>
            <a:pPr marL="452438" lvl="0" indent="-452438"/>
            <a:r>
              <a:rPr lang="ru-RU" sz="2400" dirty="0"/>
              <a:t>Экспертиза только технологически перспективных проектов </a:t>
            </a:r>
            <a:br>
              <a:rPr lang="ru-RU" sz="2400" dirty="0"/>
            </a:br>
            <a:r>
              <a:rPr lang="ru-RU" sz="2400" dirty="0"/>
              <a:t>(87 из 127)</a:t>
            </a:r>
          </a:p>
          <a:p>
            <a:pPr marL="452438" lvl="0" indent="-452438"/>
            <a:r>
              <a:rPr lang="ru-RU" sz="2400" dirty="0"/>
              <a:t>Элементы коллегиальной экспертизы</a:t>
            </a:r>
          </a:p>
          <a:p>
            <a:endParaRPr lang="ru-RU" sz="2400" dirty="0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C98CE0E1-FD11-729B-ADCC-316990D4578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82397" y="5871820"/>
            <a:ext cx="886533" cy="829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26201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idx="4294967295"/>
          </p:nvPr>
        </p:nvSpPr>
        <p:spPr>
          <a:xfrm>
            <a:off x="515938" y="342823"/>
            <a:ext cx="10754316" cy="1325563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ru-RU" sz="3200" b="1" dirty="0">
                <a:solidFill>
                  <a:srgbClr val="003162"/>
                </a:solidFill>
              </a:rPr>
              <a:t>Зачем нужна </a:t>
            </a:r>
            <a:r>
              <a:rPr lang="ru-RU" sz="3200" b="1" u="sng" dirty="0">
                <a:solidFill>
                  <a:srgbClr val="003162"/>
                </a:solidFill>
              </a:rPr>
              <a:t>внешняя</a:t>
            </a:r>
            <a:r>
              <a:rPr lang="ru-RU" sz="3200" b="1" dirty="0">
                <a:solidFill>
                  <a:srgbClr val="003162"/>
                </a:solidFill>
              </a:rPr>
              <a:t> экспертиза коммерческого потенциала?</a:t>
            </a:r>
          </a:p>
        </p:txBody>
      </p:sp>
      <p:graphicFrame>
        <p:nvGraphicFramePr>
          <p:cNvPr id="7" name="Объект 6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716588102"/>
              </p:ext>
            </p:extLst>
          </p:nvPr>
        </p:nvGraphicFramePr>
        <p:xfrm>
          <a:off x="517352" y="1736981"/>
          <a:ext cx="10515600" cy="15697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628900">
                  <a:extLst>
                    <a:ext uri="{9D8B030D-6E8A-4147-A177-3AD203B41FA5}">
                      <a16:colId xmlns:a16="http://schemas.microsoft.com/office/drawing/2014/main" val="3513024129"/>
                    </a:ext>
                  </a:extLst>
                </a:gridCol>
                <a:gridCol w="2628900">
                  <a:extLst>
                    <a:ext uri="{9D8B030D-6E8A-4147-A177-3AD203B41FA5}">
                      <a16:colId xmlns:a16="http://schemas.microsoft.com/office/drawing/2014/main" val="3987372671"/>
                    </a:ext>
                  </a:extLst>
                </a:gridCol>
                <a:gridCol w="2628900">
                  <a:extLst>
                    <a:ext uri="{9D8B030D-6E8A-4147-A177-3AD203B41FA5}">
                      <a16:colId xmlns:a16="http://schemas.microsoft.com/office/drawing/2014/main" val="19981678"/>
                    </a:ext>
                  </a:extLst>
                </a:gridCol>
                <a:gridCol w="2628900">
                  <a:extLst>
                    <a:ext uri="{9D8B030D-6E8A-4147-A177-3AD203B41FA5}">
                      <a16:colId xmlns:a16="http://schemas.microsoft.com/office/drawing/2014/main" val="10771491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Объемы рынка по сегментам, млн рублей</a:t>
                      </a: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Сегмент</a:t>
                      </a:r>
                      <a:r>
                        <a:rPr lang="ru-RU" baseline="0" dirty="0"/>
                        <a:t> рынка 1</a:t>
                      </a:r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Сегмент рынка 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Сегмент рынка 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761297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Технология\Продукт</a:t>
                      </a:r>
                      <a:r>
                        <a:rPr lang="ru-RU" baseline="0" dirty="0"/>
                        <a:t> 1</a:t>
                      </a:r>
                      <a:endParaRPr lang="ru-RU" dirty="0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1 00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20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50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133766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Технология\Продукт 2</a:t>
                      </a: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30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2 00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1 00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880050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Технология\Продукт 3</a:t>
                      </a: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5 00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70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20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77783473"/>
                  </a:ext>
                </a:extLst>
              </a:tr>
            </a:tbl>
          </a:graphicData>
        </a:graphic>
      </p:graphicFrame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13" name="Рукописный ввод 12"/>
              <p14:cNvContentPartPr/>
              <p14:nvPr/>
            </p14:nvContentPartPr>
            <p14:xfrm>
              <a:off x="4076390" y="2369087"/>
              <a:ext cx="865440" cy="360"/>
            </p14:xfrm>
          </p:contentPart>
        </mc:Choice>
        <mc:Fallback xmlns="">
          <p:pic>
            <p:nvPicPr>
              <p:cNvPr id="13" name="Рукописный ввод 12"/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992545" y="2200967"/>
                <a:ext cx="1033130" cy="3358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14" name="Рукописный ввод 13"/>
              <p14:cNvContentPartPr/>
              <p14:nvPr/>
            </p14:nvContentPartPr>
            <p14:xfrm>
              <a:off x="6822829" y="2746713"/>
              <a:ext cx="607680" cy="14760"/>
            </p14:xfrm>
          </p:contentPart>
        </mc:Choice>
        <mc:Fallback xmlns="">
          <p:pic>
            <p:nvPicPr>
              <p:cNvPr id="14" name="Рукописный ввод 13"/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6738949" y="2574390"/>
                <a:ext cx="775440" cy="358668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15" name="Рукописный ввод 14"/>
              <p14:cNvContentPartPr/>
              <p14:nvPr/>
            </p14:nvContentPartPr>
            <p14:xfrm>
              <a:off x="4191230" y="3052658"/>
              <a:ext cx="635760" cy="8280"/>
            </p14:xfrm>
          </p:contentPart>
        </mc:Choice>
        <mc:Fallback xmlns="">
          <p:pic>
            <p:nvPicPr>
              <p:cNvPr id="15" name="Рукописный ввод 14"/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107350" y="2884538"/>
                <a:ext cx="803520" cy="3438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8">
            <p14:nvContentPartPr>
              <p14:cNvPr id="16" name="Рукописный ввод 15"/>
              <p14:cNvContentPartPr/>
              <p14:nvPr/>
            </p14:nvContentPartPr>
            <p14:xfrm>
              <a:off x="9426710" y="2363360"/>
              <a:ext cx="523440" cy="56160"/>
            </p14:xfrm>
          </p:contentPart>
        </mc:Choice>
        <mc:Fallback xmlns="">
          <p:pic>
            <p:nvPicPr>
              <p:cNvPr id="16" name="Рукописный ввод 15"/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9342888" y="2195240"/>
                <a:ext cx="691085" cy="3916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0">
            <p14:nvContentPartPr>
              <p14:cNvPr id="17" name="Рукописный ввод 16"/>
              <p14:cNvContentPartPr/>
              <p14:nvPr/>
            </p14:nvContentPartPr>
            <p14:xfrm>
              <a:off x="9311420" y="2721693"/>
              <a:ext cx="789120" cy="79560"/>
            </p14:xfrm>
          </p:contentPart>
        </mc:Choice>
        <mc:Fallback xmlns="">
          <p:pic>
            <p:nvPicPr>
              <p:cNvPr id="17" name="Рукописный ввод 16"/>
              <p:cNvPicPr/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9227540" y="2554330"/>
                <a:ext cx="956880" cy="413569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2">
            <p14:nvContentPartPr>
              <p14:cNvPr id="18" name="Рукописный ввод 17"/>
              <p14:cNvContentPartPr/>
              <p14:nvPr/>
            </p14:nvContentPartPr>
            <p14:xfrm>
              <a:off x="9426710" y="3111337"/>
              <a:ext cx="572760" cy="23040"/>
            </p14:xfrm>
          </p:contentPart>
        </mc:Choice>
        <mc:Fallback xmlns="">
          <p:pic>
            <p:nvPicPr>
              <p:cNvPr id="18" name="Рукописный ввод 17"/>
              <p:cNvPicPr/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9342830" y="2943217"/>
                <a:ext cx="740520" cy="3585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4">
            <p14:nvContentPartPr>
              <p14:cNvPr id="21" name="Рукописный ввод 20"/>
              <p14:cNvContentPartPr/>
              <p14:nvPr/>
            </p14:nvContentPartPr>
            <p14:xfrm>
              <a:off x="771474" y="4310292"/>
              <a:ext cx="844560" cy="23040"/>
            </p14:xfrm>
          </p:contentPart>
        </mc:Choice>
        <mc:Fallback xmlns="">
          <p:pic>
            <p:nvPicPr>
              <p:cNvPr id="21" name="Рукописный ввод 20"/>
              <p:cNvPicPr/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687630" y="4139503"/>
                <a:ext cx="1012249" cy="363886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6">
            <p14:nvContentPartPr>
              <p14:cNvPr id="24" name="Рукописный ввод 23"/>
              <p14:cNvContentPartPr/>
              <p14:nvPr/>
            </p14:nvContentPartPr>
            <p14:xfrm>
              <a:off x="806394" y="3714688"/>
              <a:ext cx="809640" cy="31320"/>
            </p14:xfrm>
          </p:contentPart>
        </mc:Choice>
        <mc:Fallback xmlns="">
          <p:pic>
            <p:nvPicPr>
              <p:cNvPr id="24" name="Рукописный ввод 23"/>
              <p:cNvPicPr/>
              <p:nvPr/>
            </p:nvPicPr>
            <p:blipFill>
              <a:blip r:embed="rId17"/>
              <a:stretch>
                <a:fillRect/>
              </a:stretch>
            </p:blipFill>
            <p:spPr>
              <a:xfrm>
                <a:off x="722551" y="3544613"/>
                <a:ext cx="977325" cy="370741"/>
              </a:xfrm>
              <a:prstGeom prst="rect">
                <a:avLst/>
              </a:prstGeom>
            </p:spPr>
          </p:pic>
        </mc:Fallback>
      </mc:AlternateContent>
      <p:sp>
        <p:nvSpPr>
          <p:cNvPr id="25" name="TextBox 24"/>
          <p:cNvSpPr txBox="1"/>
          <p:nvPr/>
        </p:nvSpPr>
        <p:spPr>
          <a:xfrm>
            <a:off x="1958399" y="3551300"/>
            <a:ext cx="72738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Сегменты рынка, которые «не знает» разработчик продукта</a:t>
            </a:r>
            <a:r>
              <a:rPr lang="en-US" dirty="0"/>
              <a:t>\</a:t>
            </a:r>
            <a:r>
              <a:rPr lang="ru-RU" dirty="0"/>
              <a:t>технологии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1958399" y="4157873"/>
            <a:ext cx="70157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Сегменты рынка, которые «знает» разработчик продукта</a:t>
            </a:r>
            <a:r>
              <a:rPr lang="en-US" dirty="0"/>
              <a:t>\</a:t>
            </a:r>
            <a:r>
              <a:rPr lang="ru-RU" dirty="0"/>
              <a:t>технологии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918472" y="4651449"/>
            <a:ext cx="1055399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ru-RU" sz="1400" dirty="0"/>
              <a:t>Оценка рынка разработчиком часто базируется на предыдущем опыте и понимании применения\коммерциализации технологии. Проблема: не видим другие применения и\или не хотим с ними связываться (при том, что технологии часто имеют кросс-отраслевой потенциал)</a:t>
            </a:r>
          </a:p>
          <a:p>
            <a:pPr marL="342900" indent="-342900">
              <a:buAutoNum type="arabicPeriod"/>
            </a:pPr>
            <a:r>
              <a:rPr lang="ru-RU" sz="1400" dirty="0"/>
              <a:t>Оценка рынка в сегментах, где у разработчика нет опыта, производится кабинетным способом и базируется на непроверенных гипотезах. Проблема: некорректно (как правило, завышено) оцениваем сегменты, которые знаем слабо. Это особенно верно для новой инновационной продукции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F949805B-69C4-22B6-2830-326AFFC95ED2}"/>
              </a:ext>
            </a:extLst>
          </p:cNvPr>
          <p:cNvPicPr>
            <a:picLocks noChangeAspect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82397" y="5871820"/>
            <a:ext cx="886533" cy="829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13318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515938" y="333374"/>
            <a:ext cx="10853468" cy="1273175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ru-RU" sz="3200" b="1" dirty="0">
                <a:solidFill>
                  <a:srgbClr val="003162"/>
                </a:solidFill>
              </a:rPr>
              <a:t>Пример 2: Экспертиза по методике </a:t>
            </a:r>
            <a:r>
              <a:rPr lang="ru-RU" sz="3200" b="1" dirty="0" err="1">
                <a:solidFill>
                  <a:srgbClr val="003162"/>
                </a:solidFill>
              </a:rPr>
              <a:t>Quicklook</a:t>
            </a:r>
            <a:r>
              <a:rPr lang="ru-RU" sz="3200" b="1" dirty="0">
                <a:solidFill>
                  <a:srgbClr val="003162"/>
                </a:solidFill>
              </a:rPr>
              <a:t>  IC2 </a:t>
            </a:r>
            <a:r>
              <a:rPr lang="ru-RU" sz="3200" b="1" dirty="0" err="1">
                <a:solidFill>
                  <a:srgbClr val="003162"/>
                </a:solidFill>
              </a:rPr>
              <a:t>Institute</a:t>
            </a:r>
            <a:r>
              <a:rPr lang="ru-RU" sz="3200" b="1" dirty="0">
                <a:solidFill>
                  <a:srgbClr val="003162"/>
                </a:solidFill>
              </a:rPr>
              <a:t> Техасского Университета (</a:t>
            </a:r>
            <a:r>
              <a:rPr lang="ru-RU" sz="3200" b="1" dirty="0" err="1">
                <a:solidFill>
                  <a:srgbClr val="003162"/>
                </a:solidFill>
              </a:rPr>
              <a:t>г.Остин</a:t>
            </a:r>
            <a:r>
              <a:rPr lang="ru-RU" sz="3200" b="1" dirty="0">
                <a:solidFill>
                  <a:srgbClr val="003162"/>
                </a:solidFill>
              </a:rPr>
              <a:t>)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4294967295"/>
          </p:nvPr>
        </p:nvSpPr>
        <p:spPr>
          <a:xfrm>
            <a:off x="515937" y="1485020"/>
            <a:ext cx="11125201" cy="4249738"/>
          </a:xfrm>
          <a:prstGeom prst="rect">
            <a:avLst/>
          </a:prstGeom>
        </p:spPr>
        <p:txBody>
          <a:bodyPr>
            <a:normAutofit fontScale="47500" lnSpcReduction="20000"/>
          </a:bodyPr>
          <a:lstStyle/>
          <a:p>
            <a:pPr marL="0" indent="0">
              <a:lnSpc>
                <a:spcPts val="1700"/>
              </a:lnSpc>
              <a:spcBef>
                <a:spcPts val="600"/>
              </a:spcBef>
              <a:buNone/>
            </a:pPr>
            <a:r>
              <a:rPr lang="ru-RU" sz="3300" dirty="0"/>
              <a:t>Методика </a:t>
            </a:r>
            <a:r>
              <a:rPr lang="en-US" sz="3300" dirty="0" err="1"/>
              <a:t>Quicklook</a:t>
            </a:r>
            <a:r>
              <a:rPr lang="en-US" sz="3300" dirty="0"/>
              <a:t> </a:t>
            </a:r>
            <a:r>
              <a:rPr lang="ru-RU" sz="3300" dirty="0"/>
              <a:t>была разработана для быстрой оценки коммерциализуемости технологии</a:t>
            </a:r>
            <a:r>
              <a:rPr lang="ru-RU" sz="3300" dirty="0">
                <a:latin typeface="Mont Bold" panose="00000900000000000000" pitchFamily="50" charset="0"/>
              </a:rPr>
              <a:t>, </a:t>
            </a:r>
            <a:r>
              <a:rPr lang="ru-RU" sz="3300" b="1" dirty="0">
                <a:latin typeface="Mont Bold" panose="00000900000000000000" pitchFamily="50" charset="0"/>
              </a:rPr>
              <a:t>базируется на реальной обратной связи от потенциальных потребителей</a:t>
            </a:r>
            <a:r>
              <a:rPr lang="ru-RU" sz="3300" dirty="0">
                <a:latin typeface="Mont Bold" panose="00000900000000000000" pitchFamily="50" charset="0"/>
              </a:rPr>
              <a:t> </a:t>
            </a:r>
            <a:r>
              <a:rPr lang="ru-RU" sz="3300" dirty="0"/>
              <a:t>и включает:</a:t>
            </a:r>
            <a:br>
              <a:rPr lang="ru-RU" sz="3300" dirty="0"/>
            </a:br>
            <a:endParaRPr lang="ru-RU" sz="3300" dirty="0"/>
          </a:p>
          <a:p>
            <a:pPr marL="363538" indent="-363538">
              <a:lnSpc>
                <a:spcPts val="1700"/>
              </a:lnSpc>
              <a:spcBef>
                <a:spcPts val="600"/>
              </a:spcBef>
              <a:buSzPct val="120000"/>
            </a:pPr>
            <a:r>
              <a:rPr lang="ru-RU" sz="3300" dirty="0"/>
              <a:t>Определение потенциальных рынков и применений</a:t>
            </a:r>
          </a:p>
          <a:p>
            <a:pPr marL="363538" indent="-363538">
              <a:lnSpc>
                <a:spcPts val="1700"/>
              </a:lnSpc>
              <a:spcBef>
                <a:spcPts val="600"/>
              </a:spcBef>
              <a:buSzPct val="120000"/>
            </a:pPr>
            <a:r>
              <a:rPr lang="ru-RU" sz="3300" dirty="0"/>
              <a:t>Определение конечных пользователей, лицензиатов, дистрибьюторов </a:t>
            </a:r>
          </a:p>
          <a:p>
            <a:pPr marL="363538" indent="-363538">
              <a:lnSpc>
                <a:spcPts val="1700"/>
              </a:lnSpc>
              <a:spcBef>
                <a:spcPts val="600"/>
              </a:spcBef>
              <a:buSzPct val="120000"/>
            </a:pPr>
            <a:r>
              <a:rPr lang="ru-RU" sz="3300" dirty="0"/>
              <a:t>Интервью с экспертами и представителями компаний-потребителей</a:t>
            </a:r>
            <a:r>
              <a:rPr lang="en-US" sz="3300" dirty="0"/>
              <a:t> (</a:t>
            </a:r>
            <a:r>
              <a:rPr lang="ru-RU" sz="3300" dirty="0"/>
              <a:t>не менее 3-5 экспертов\представителей клиентов)</a:t>
            </a:r>
          </a:p>
          <a:p>
            <a:pPr marL="363538" indent="-363538">
              <a:lnSpc>
                <a:spcPts val="1700"/>
              </a:lnSpc>
              <a:spcBef>
                <a:spcPts val="600"/>
              </a:spcBef>
              <a:buSzPct val="120000"/>
            </a:pPr>
            <a:r>
              <a:rPr lang="ru-RU" sz="3300" dirty="0"/>
              <a:t>Подготовка отчета </a:t>
            </a:r>
          </a:p>
          <a:p>
            <a:pPr marL="363538" indent="-363538">
              <a:lnSpc>
                <a:spcPts val="1700"/>
              </a:lnSpc>
              <a:spcBef>
                <a:spcPts val="600"/>
              </a:spcBef>
              <a:buSzPct val="120000"/>
            </a:pPr>
            <a:r>
              <a:rPr lang="ru-RU" sz="3300" dirty="0"/>
              <a:t>Ранжирование (в случае оценки портфеля)</a:t>
            </a:r>
          </a:p>
          <a:p>
            <a:pPr marL="715963" lvl="1" indent="-352425">
              <a:lnSpc>
                <a:spcPts val="1700"/>
              </a:lnSpc>
              <a:spcBef>
                <a:spcPts val="600"/>
              </a:spcBef>
            </a:pPr>
            <a:r>
              <a:rPr lang="ru-RU" sz="3300" dirty="0"/>
              <a:t>Рыночный потенциал (25%)</a:t>
            </a:r>
          </a:p>
          <a:p>
            <a:pPr marL="715963" lvl="1" indent="-352425">
              <a:lnSpc>
                <a:spcPts val="1700"/>
              </a:lnSpc>
              <a:spcBef>
                <a:spcPts val="600"/>
              </a:spcBef>
            </a:pPr>
            <a:r>
              <a:rPr lang="ru-RU" sz="3300" dirty="0"/>
              <a:t>Зрелость рынка (15%)</a:t>
            </a:r>
          </a:p>
          <a:p>
            <a:pPr marL="715963" lvl="1" indent="-352425">
              <a:lnSpc>
                <a:spcPts val="1700"/>
              </a:lnSpc>
              <a:spcBef>
                <a:spcPts val="600"/>
              </a:spcBef>
            </a:pPr>
            <a:r>
              <a:rPr lang="en-US" sz="3300" dirty="0"/>
              <a:t>TRL</a:t>
            </a:r>
            <a:r>
              <a:rPr lang="ru-RU" sz="3300" dirty="0"/>
              <a:t> (40%)</a:t>
            </a:r>
          </a:p>
          <a:p>
            <a:pPr marL="715963" lvl="1" indent="-352425">
              <a:lnSpc>
                <a:spcPts val="1700"/>
              </a:lnSpc>
              <a:spcBef>
                <a:spcPts val="600"/>
              </a:spcBef>
            </a:pPr>
            <a:r>
              <a:rPr lang="ru-RU" sz="3300" dirty="0"/>
              <a:t>Конкуренция\наличие патентов (20%)</a:t>
            </a:r>
          </a:p>
          <a:p>
            <a:pPr marL="0" indent="0">
              <a:buNone/>
            </a:pPr>
            <a:endParaRPr lang="ru-RU" dirty="0"/>
          </a:p>
          <a:p>
            <a:pPr marL="0" indent="0">
              <a:spcBef>
                <a:spcPts val="1200"/>
              </a:spcBef>
              <a:buNone/>
            </a:pPr>
            <a:r>
              <a:rPr lang="en-US" sz="2000" dirty="0"/>
              <a:t>Jakobs, E.-M., </a:t>
            </a:r>
            <a:r>
              <a:rPr lang="en-US" sz="2000" dirty="0" err="1"/>
              <a:t>Spinuzzi</a:t>
            </a:r>
            <a:r>
              <a:rPr lang="en-US" sz="2000" dirty="0"/>
              <a:t>, C., </a:t>
            </a:r>
            <a:r>
              <a:rPr lang="en-US" sz="2000" dirty="0" err="1"/>
              <a:t>Digmayer</a:t>
            </a:r>
            <a:r>
              <a:rPr lang="en-US" sz="2000" dirty="0"/>
              <a:t>, C., &amp; Pogue, G. (2015). Co-creation by commenting: Participatory ways to write </a:t>
            </a:r>
            <a:r>
              <a:rPr lang="en-US" sz="2000" dirty="0" err="1"/>
              <a:t>Quicklook</a:t>
            </a:r>
            <a:r>
              <a:rPr lang="en-US" sz="2000" dirty="0"/>
              <a:t>® reports. In Proceedings of IEEE professional communication society international professional communication conference (pp. 291–297). // URL: </a:t>
            </a:r>
            <a:r>
              <a:rPr lang="en-US" sz="2000" u="sng" dirty="0">
                <a:hlinkClick r:id="rId2"/>
              </a:rPr>
              <a:t>https://repositories.lib.utexas.edu/bitstream/handle/2152/31276/jakobs-2015-co-creation-by-commenting.pdf?sequence=2&amp;isAllowed=y</a:t>
            </a:r>
            <a:r>
              <a:rPr lang="en-US" sz="2000" dirty="0"/>
              <a:t> </a:t>
            </a:r>
            <a:endParaRPr lang="ru-RU" sz="2000" dirty="0"/>
          </a:p>
          <a:p>
            <a:endParaRPr lang="ru-RU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92BFA754-205B-D0C2-0299-12EA0C81BAC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82397" y="5871820"/>
            <a:ext cx="886533" cy="829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88418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515938" y="344411"/>
            <a:ext cx="10693400" cy="603250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ru-RU" sz="3200" b="1" dirty="0">
                <a:solidFill>
                  <a:srgbClr val="003162"/>
                </a:solidFill>
              </a:rPr>
              <a:t>Шаблон экспертного заключения по </a:t>
            </a:r>
            <a:r>
              <a:rPr lang="en-US" sz="3200" b="1" dirty="0" err="1">
                <a:solidFill>
                  <a:srgbClr val="003162"/>
                </a:solidFill>
              </a:rPr>
              <a:t>Quicklook</a:t>
            </a:r>
            <a:endParaRPr lang="ru-RU" sz="3200" b="1" dirty="0">
              <a:solidFill>
                <a:srgbClr val="003162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4294967295"/>
          </p:nvPr>
        </p:nvSpPr>
        <p:spPr>
          <a:xfrm>
            <a:off x="1194342" y="1090999"/>
            <a:ext cx="10446796" cy="4899025"/>
          </a:xfrm>
          <a:prstGeom prst="rect">
            <a:avLst/>
          </a:prstGeom>
        </p:spPr>
        <p:txBody>
          <a:bodyPr>
            <a:noAutofit/>
          </a:bodyPr>
          <a:lstStyle/>
          <a:p>
            <a:pPr marL="363538" lvl="0" indent="-363538">
              <a:lnSpc>
                <a:spcPct val="600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sz="1800" dirty="0">
                <a:latin typeface="Mont Bold" panose="00000900000000000000" pitchFamily="50" charset="0"/>
              </a:rPr>
              <a:t>Описание технологии</a:t>
            </a:r>
          </a:p>
          <a:p>
            <a:pPr marL="363538" lvl="0" indent="-363538">
              <a:lnSpc>
                <a:spcPct val="600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sz="1800" dirty="0">
                <a:latin typeface="Mont Bold" panose="00000900000000000000" pitchFamily="50" charset="0"/>
              </a:rPr>
              <a:t>Потенциальные выгоды от технологии</a:t>
            </a:r>
          </a:p>
          <a:p>
            <a:pPr marL="363538" lvl="0" indent="-363538">
              <a:lnSpc>
                <a:spcPct val="600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sz="1800" dirty="0">
                <a:latin typeface="Mont Bold" panose="00000900000000000000" pitchFamily="50" charset="0"/>
              </a:rPr>
              <a:t>Текущий статус</a:t>
            </a:r>
          </a:p>
          <a:p>
            <a:pPr marL="363538" lvl="0" indent="-363538">
              <a:lnSpc>
                <a:spcPct val="600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sz="1800" dirty="0">
                <a:latin typeface="Mont Bold" panose="00000900000000000000" pitchFamily="50" charset="0"/>
              </a:rPr>
              <a:t>Состояние интеллектуальной собственности</a:t>
            </a:r>
          </a:p>
          <a:p>
            <a:pPr marL="363538" lvl="0" indent="-363538">
              <a:lnSpc>
                <a:spcPct val="600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sz="1800" dirty="0">
                <a:latin typeface="Mont Bold" panose="00000900000000000000" pitchFamily="50" charset="0"/>
              </a:rPr>
              <a:t>Потенциальные рынки</a:t>
            </a:r>
          </a:p>
          <a:p>
            <a:pPr marL="715963" lvl="1" indent="-352425">
              <a:lnSpc>
                <a:spcPct val="600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dirty="0"/>
              <a:t>Потенциальная ценность для рынка</a:t>
            </a:r>
          </a:p>
          <a:p>
            <a:pPr marL="715963" lvl="1" indent="-352425">
              <a:lnSpc>
                <a:spcPct val="600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dirty="0"/>
              <a:t>Подтвержденный рыночный спрос\интерес</a:t>
            </a:r>
          </a:p>
          <a:p>
            <a:pPr marL="715963" lvl="1" indent="-352425">
              <a:lnSpc>
                <a:spcPct val="600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dirty="0"/>
              <a:t>Требования рынка</a:t>
            </a:r>
          </a:p>
          <a:p>
            <a:pPr marL="363538" lvl="0" indent="-363538">
              <a:lnSpc>
                <a:spcPct val="600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sz="1800" dirty="0">
                <a:latin typeface="Mont Bold" panose="00000900000000000000" pitchFamily="50" charset="0"/>
              </a:rPr>
              <a:t>Риски проекта</a:t>
            </a:r>
          </a:p>
          <a:p>
            <a:pPr marL="715963" lvl="1" indent="-352425">
              <a:lnSpc>
                <a:spcPct val="600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dirty="0"/>
              <a:t>Технологические риски</a:t>
            </a:r>
          </a:p>
          <a:p>
            <a:pPr marL="715963" lvl="1" indent="-352425">
              <a:lnSpc>
                <a:spcPct val="600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dirty="0"/>
              <a:t>Производственные и коммерческие риски</a:t>
            </a:r>
          </a:p>
          <a:p>
            <a:pPr marL="715963" lvl="1" indent="-352425">
              <a:lnSpc>
                <a:spcPct val="600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dirty="0"/>
              <a:t>Социальные и экономические риски </a:t>
            </a:r>
          </a:p>
          <a:p>
            <a:pPr marL="363538" lvl="0" indent="-363538">
              <a:lnSpc>
                <a:spcPct val="600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sz="1800" dirty="0">
                <a:latin typeface="Mont Bold" panose="00000900000000000000" pitchFamily="50" charset="0"/>
              </a:rPr>
              <a:t>Возможности проекта</a:t>
            </a:r>
          </a:p>
          <a:p>
            <a:pPr marL="715963" lvl="1" indent="-352425">
              <a:lnSpc>
                <a:spcPct val="600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dirty="0"/>
              <a:t>Технологические возможности </a:t>
            </a:r>
          </a:p>
          <a:p>
            <a:pPr marL="715963" lvl="1" indent="-352425">
              <a:lnSpc>
                <a:spcPct val="600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dirty="0"/>
              <a:t>Производственные и коммерческие возможности </a:t>
            </a:r>
          </a:p>
          <a:p>
            <a:pPr marL="715963" lvl="1" indent="-352425">
              <a:lnSpc>
                <a:spcPct val="600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dirty="0"/>
              <a:t>Социальные и экономические возможности </a:t>
            </a:r>
          </a:p>
          <a:p>
            <a:pPr marL="452438" lvl="0" indent="-452438">
              <a:lnSpc>
                <a:spcPct val="600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sz="1800" dirty="0">
                <a:latin typeface="Mont Bold" panose="00000900000000000000" pitchFamily="50" charset="0"/>
              </a:rPr>
              <a:t>Общие рекомендации</a:t>
            </a:r>
          </a:p>
          <a:p>
            <a:pPr marL="452438" lvl="0" indent="-452438">
              <a:lnSpc>
                <a:spcPct val="600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sz="1800" dirty="0">
                <a:latin typeface="Mont Bold" panose="00000900000000000000" pitchFamily="50" charset="0"/>
              </a:rPr>
              <a:t>«Дорожная карта» проекта</a:t>
            </a:r>
            <a:endParaRPr lang="ru-RU" sz="2000" dirty="0">
              <a:latin typeface="Mont Bold" panose="00000900000000000000" pitchFamily="50" charset="0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E807D0E-2165-C9E5-6379-777F8266254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82397" y="5871820"/>
            <a:ext cx="886533" cy="829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54450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515937" y="333375"/>
            <a:ext cx="10850433" cy="822366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ru-RU" sz="2800" b="1" dirty="0">
                <a:solidFill>
                  <a:srgbClr val="003162"/>
                </a:solidFill>
              </a:rPr>
              <a:t>Пример 3 (важность альтернативных применений): Решение задачи по снижению потерь на коронный разряд в сетях ПАО «ФСК ЕЭС»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4294967295"/>
          </p:nvPr>
        </p:nvSpPr>
        <p:spPr>
          <a:xfrm>
            <a:off x="515937" y="1583473"/>
            <a:ext cx="11067786" cy="4654622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1600" b="1" dirty="0">
                <a:latin typeface="Mont Bold" panose="00000900000000000000" pitchFamily="50" charset="0"/>
              </a:rPr>
              <a:t>Проблема:</a:t>
            </a:r>
            <a:r>
              <a:rPr lang="ru-RU" sz="1600" dirty="0"/>
              <a:t> потери на коронный разряд обходятся ФСК ЕЭС в 15 млрд. рублей в год</a:t>
            </a:r>
          </a:p>
          <a:p>
            <a:pPr marL="0" indent="0">
              <a:buNone/>
            </a:pPr>
            <a:r>
              <a:rPr lang="ru-RU" sz="1600" dirty="0">
                <a:latin typeface="+mj-lt"/>
              </a:rPr>
              <a:t>Состав работ:</a:t>
            </a:r>
          </a:p>
          <a:p>
            <a:pPr lvl="0"/>
            <a:r>
              <a:rPr lang="ru-RU" sz="1600" dirty="0"/>
              <a:t>Проведение открытого запроса инновационных решений по снижению потерь электроэнергии на коронный разряд на проводах ЛЭП 220 -750 </a:t>
            </a:r>
            <a:r>
              <a:rPr lang="ru-RU" sz="1600" dirty="0" err="1"/>
              <a:t>кВ.</a:t>
            </a:r>
            <a:endParaRPr lang="ru-RU" sz="1600" dirty="0"/>
          </a:p>
          <a:p>
            <a:pPr lvl="0"/>
            <a:r>
              <a:rPr lang="ru-RU" sz="1600" dirty="0"/>
              <a:t>Анализ и отбор лучших предложений, организация взаимодействия с проектами, в том числе:</a:t>
            </a:r>
          </a:p>
          <a:p>
            <a:pPr lvl="1"/>
            <a:r>
              <a:rPr lang="ru-RU" sz="1600" dirty="0"/>
              <a:t>Поиск заделов по теме (Патенты, Статьи, ЗФТ, Проекты)</a:t>
            </a:r>
          </a:p>
          <a:p>
            <a:pPr lvl="1"/>
            <a:r>
              <a:rPr lang="ru-RU" sz="1600" dirty="0"/>
              <a:t>оценка патентного ландшафта на международном и российском рынке</a:t>
            </a:r>
          </a:p>
          <a:p>
            <a:pPr lvl="1"/>
            <a:r>
              <a:rPr lang="ru-RU" sz="1600" dirty="0"/>
              <a:t>оценка степени готовности заделов для внедрения в производство (на базе методологии TPRL) </a:t>
            </a:r>
          </a:p>
          <a:p>
            <a:pPr lvl="1"/>
            <a:r>
              <a:rPr lang="ru-RU" sz="1600" dirty="0"/>
              <a:t>Организация экспертной группы из разработчиков - представителей МГУ им. М.В. Ломоносова, ИФХЭ РАН, </a:t>
            </a:r>
            <a:r>
              <a:rPr lang="ru-RU" sz="1600" dirty="0" err="1"/>
              <a:t>МИСиС</a:t>
            </a:r>
            <a:r>
              <a:rPr lang="ru-RU" sz="1600" dirty="0"/>
              <a:t>, ЦАГИ, СГУ для решения поставленной задачи</a:t>
            </a:r>
          </a:p>
          <a:p>
            <a:pPr lvl="1"/>
            <a:r>
              <a:rPr lang="ru-RU" sz="1600" dirty="0"/>
              <a:t>Содействие командам в подготовке и подаче предложений по снижению потерь на коронный разряд в ответ на технологический запрос Заказчика</a:t>
            </a:r>
          </a:p>
          <a:p>
            <a:pPr marL="0" indent="0">
              <a:buNone/>
            </a:pPr>
            <a:r>
              <a:rPr lang="ru-RU" sz="1600" b="1" dirty="0"/>
              <a:t>Результат:</a:t>
            </a:r>
            <a:r>
              <a:rPr lang="ru-RU" sz="1600" dirty="0"/>
              <a:t> Найдена лучшая команда разработчиков </a:t>
            </a:r>
            <a:r>
              <a:rPr lang="ru-RU" sz="1600" dirty="0" err="1"/>
              <a:t>супергидрофобных</a:t>
            </a:r>
            <a:r>
              <a:rPr lang="ru-RU" sz="1600" dirty="0"/>
              <a:t> покрытий в РФ (группа академика </a:t>
            </a:r>
            <a:r>
              <a:rPr lang="ru-RU" sz="1600" dirty="0" err="1"/>
              <a:t>Бойнович</a:t>
            </a:r>
            <a:r>
              <a:rPr lang="ru-RU" sz="1600" dirty="0"/>
              <a:t> в </a:t>
            </a:r>
            <a:r>
              <a:rPr lang="ru-RU" sz="1600" dirty="0" err="1"/>
              <a:t>ИФХиЭХ</a:t>
            </a:r>
            <a:r>
              <a:rPr lang="ru-RU" sz="1600" dirty="0"/>
              <a:t> им. Фрумкина), подтверждена готовность </a:t>
            </a:r>
            <a:r>
              <a:rPr lang="ru-RU" sz="1600" dirty="0" err="1"/>
              <a:t>софинансирования</a:t>
            </a:r>
            <a:r>
              <a:rPr lang="ru-RU" sz="1600" dirty="0"/>
              <a:t> разработки со стороны ФСК ЕЭС в размере 50 млн рублей. </a:t>
            </a:r>
          </a:p>
          <a:p>
            <a:pPr marL="715963" indent="0">
              <a:buNone/>
            </a:pPr>
            <a:r>
              <a:rPr lang="ru-RU" sz="1800" b="1" dirty="0"/>
              <a:t>Изначально технология разрабатывалась для борьбы с обледенением датчиков скорости в авиации. Объем рынков для этих применений существенно отличается (по разным оценкам – на порядок) </a:t>
            </a:r>
          </a:p>
        </p:txBody>
      </p:sp>
      <p:pic>
        <p:nvPicPr>
          <p:cNvPr id="5" name="Изображение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05496" y="1043890"/>
            <a:ext cx="1050702" cy="651435"/>
          </a:xfrm>
          <a:prstGeom prst="rect">
            <a:avLst/>
          </a:prstGeom>
        </p:spPr>
      </p:pic>
      <p:pic>
        <p:nvPicPr>
          <p:cNvPr id="1026" name="Picture 2" descr="https://static.tildacdn.com/tild3231-6630-4965-b231-376538353734/ifh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3931" y="892268"/>
            <a:ext cx="827525" cy="9226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60AD438B-204A-D137-3919-24BC55F0FE7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82397" y="5871820"/>
            <a:ext cx="886533" cy="829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38257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_my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eme_my1" id="{14F3D04E-9B5C-A94B-B0B3-A7AB0A573C9D}" vid="{4BE7E686-8519-3145-AF8D-562C3A11BABE}"/>
    </a:ext>
  </a:extLst>
</a:theme>
</file>

<file path=ppt/theme/theme10.xml><?xml version="1.0" encoding="utf-8"?>
<a:theme xmlns:a="http://schemas.openxmlformats.org/drawingml/2006/main" name="6_RZD-Subtitl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МО">
      <a:majorFont>
        <a:latin typeface="Mont Bold"/>
        <a:ea typeface=""/>
        <a:cs typeface=""/>
      </a:majorFont>
      <a:minorFont>
        <a:latin typeface="Mont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7_RZD-Subtitl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МО">
      <a:majorFont>
        <a:latin typeface="Mont Bold"/>
        <a:ea typeface=""/>
        <a:cs typeface=""/>
      </a:majorFont>
      <a:minorFont>
        <a:latin typeface="Mont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8_RZD-Subtitl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МО">
      <a:majorFont>
        <a:latin typeface="Mont Bold"/>
        <a:ea typeface=""/>
        <a:cs typeface=""/>
      </a:majorFont>
      <a:minorFont>
        <a:latin typeface="Mont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10_RZD-Subtitl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МО">
      <a:majorFont>
        <a:latin typeface="Mont Bold"/>
        <a:ea typeface=""/>
        <a:cs typeface=""/>
      </a:majorFont>
      <a:minorFont>
        <a:latin typeface="Mont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9_RZD-Subtitl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МО">
      <a:majorFont>
        <a:latin typeface="Mont Bold"/>
        <a:ea typeface=""/>
        <a:cs typeface=""/>
      </a:majorFont>
      <a:minorFont>
        <a:latin typeface="Mont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1_RZD-Inside">
  <a:themeElements>
    <a:clrScheme name="Другая 4">
      <a:dk1>
        <a:srgbClr val="000000"/>
      </a:dk1>
      <a:lt1>
        <a:srgbClr val="FFFFFF"/>
      </a:lt1>
      <a:dk2>
        <a:srgbClr val="003162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МО">
      <a:majorFont>
        <a:latin typeface="Mont Bold"/>
        <a:ea typeface=""/>
        <a:cs typeface=""/>
      </a:majorFont>
      <a:minorFont>
        <a:latin typeface="Mon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2_RZD-Inside">
  <a:themeElements>
    <a:clrScheme name="Другая 4">
      <a:dk1>
        <a:srgbClr val="000000"/>
      </a:dk1>
      <a:lt1>
        <a:srgbClr val="FFFFFF"/>
      </a:lt1>
      <a:dk2>
        <a:srgbClr val="003162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МО">
      <a:majorFont>
        <a:latin typeface="Mont Bold"/>
        <a:ea typeface=""/>
        <a:cs typeface=""/>
      </a:majorFont>
      <a:minorFont>
        <a:latin typeface="Mon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3_RZD-Inside">
  <a:themeElements>
    <a:clrScheme name="Другая 4">
      <a:dk1>
        <a:srgbClr val="000000"/>
      </a:dk1>
      <a:lt1>
        <a:srgbClr val="FFFFFF"/>
      </a:lt1>
      <a:dk2>
        <a:srgbClr val="003162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МО">
      <a:majorFont>
        <a:latin typeface="Mont Bold"/>
        <a:ea typeface=""/>
        <a:cs typeface=""/>
      </a:majorFont>
      <a:minorFont>
        <a:latin typeface="Mon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8.xml><?xml version="1.0" encoding="utf-8"?>
<a:theme xmlns:a="http://schemas.openxmlformats.org/drawingml/2006/main" name="4_RZD-Inside">
  <a:themeElements>
    <a:clrScheme name="Другая 4">
      <a:dk1>
        <a:srgbClr val="000000"/>
      </a:dk1>
      <a:lt1>
        <a:srgbClr val="FFFFFF"/>
      </a:lt1>
      <a:dk2>
        <a:srgbClr val="003162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МО">
      <a:majorFont>
        <a:latin typeface="Mont Bold"/>
        <a:ea typeface=""/>
        <a:cs typeface=""/>
      </a:majorFont>
      <a:minorFont>
        <a:latin typeface="Mon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9.xml><?xml version="1.0" encoding="utf-8"?>
<a:theme xmlns:a="http://schemas.openxmlformats.org/drawingml/2006/main" name="11_RZD-Subtitl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МО">
      <a:majorFont>
        <a:latin typeface="Mont Bold"/>
        <a:ea typeface=""/>
        <a:cs typeface=""/>
      </a:majorFont>
      <a:minorFont>
        <a:latin typeface="Mont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RZD-Subtitl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МО">
      <a:majorFont>
        <a:latin typeface="Mont Bold"/>
        <a:ea typeface=""/>
        <a:cs typeface=""/>
      </a:majorFont>
      <a:minorFont>
        <a:latin typeface="Mont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0.xml><?xml version="1.0" encoding="utf-8"?>
<a:theme xmlns:a="http://schemas.openxmlformats.org/drawingml/2006/main" name="ТемаНАТТ_палитра-шрифты">
  <a:themeElements>
    <a:clrScheme name="NATT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96CD"/>
      </a:accent1>
      <a:accent2>
        <a:srgbClr val="DF2626"/>
      </a:accent2>
      <a:accent3>
        <a:srgbClr val="D9DBDD"/>
      </a:accent3>
      <a:accent4>
        <a:srgbClr val="256DA3"/>
      </a:accent4>
      <a:accent5>
        <a:srgbClr val="8ACAEA"/>
      </a:accent5>
      <a:accent6>
        <a:srgbClr val="F29B86"/>
      </a:accent6>
      <a:hlink>
        <a:srgbClr val="DF2626"/>
      </a:hlink>
      <a:folHlink>
        <a:srgbClr val="F29B86"/>
      </a:folHlink>
    </a:clrScheme>
    <a:fontScheme name="Другая 8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ТемаНАТТ_палитра-шрифты" id="{2EDE67AC-4E31-49C1-84D8-A52D252A6C71}" vid="{A1F67B22-94C1-4D3D-88B8-502B04A5B54B}"/>
    </a:ext>
  </a:extLst>
</a:theme>
</file>

<file path=ppt/theme/theme21.xml><?xml version="1.0" encoding="utf-8"?>
<a:theme xmlns:a="http://schemas.openxmlformats.org/drawingml/2006/main" name="Тема Office">
  <a:themeElements>
    <a:clrScheme name="Другая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AFF0"/>
      </a:accent1>
      <a:accent2>
        <a:srgbClr val="0082B0"/>
      </a:accent2>
      <a:accent3>
        <a:srgbClr val="005674"/>
      </a:accent3>
      <a:accent4>
        <a:srgbClr val="002532"/>
      </a:accent4>
      <a:accent5>
        <a:srgbClr val="3B3B3B"/>
      </a:accent5>
      <a:accent6>
        <a:srgbClr val="808080"/>
      </a:accent6>
      <a:hlink>
        <a:srgbClr val="00B0F0"/>
      </a:hlink>
      <a:folHlink>
        <a:srgbClr val="954F72"/>
      </a:folHlink>
    </a:clrScheme>
    <a:fontScheme name="ФРИИ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RZD-Title 2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МО">
      <a:majorFont>
        <a:latin typeface="Mont Bold"/>
        <a:ea typeface=""/>
        <a:cs typeface=""/>
      </a:majorFont>
      <a:minorFont>
        <a:latin typeface="Mont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МО">
      <a:majorFont>
        <a:latin typeface="Mont Bold"/>
        <a:ea typeface=""/>
        <a:cs typeface=""/>
      </a:majorFont>
      <a:minorFont>
        <a:latin typeface="Mont Ligh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RZD-Subtitl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МО">
      <a:majorFont>
        <a:latin typeface="Mont Bold"/>
        <a:ea typeface=""/>
        <a:cs typeface=""/>
      </a:majorFont>
      <a:minorFont>
        <a:latin typeface="Mont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2_RZD-Subtitl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МО">
      <a:majorFont>
        <a:latin typeface="Mont Bold"/>
        <a:ea typeface=""/>
        <a:cs typeface=""/>
      </a:majorFont>
      <a:minorFont>
        <a:latin typeface="Mont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3_RZD-Subtitl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МО">
      <a:majorFont>
        <a:latin typeface="Mont Bold"/>
        <a:ea typeface=""/>
        <a:cs typeface=""/>
      </a:majorFont>
      <a:minorFont>
        <a:latin typeface="Mont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4_RZD-Subtitl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МО">
      <a:majorFont>
        <a:latin typeface="Mont Bold"/>
        <a:ea typeface=""/>
        <a:cs typeface=""/>
      </a:majorFont>
      <a:minorFont>
        <a:latin typeface="Mont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5_RZD-Subtitl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МО">
      <a:majorFont>
        <a:latin typeface="Mont Bold"/>
        <a:ea typeface=""/>
        <a:cs typeface=""/>
      </a:majorFont>
      <a:minorFont>
        <a:latin typeface="Mont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9344</TotalTime>
  <Words>1339</Words>
  <Application>Microsoft Office PowerPoint</Application>
  <PresentationFormat>Широкоэкранный</PresentationFormat>
  <Paragraphs>151</Paragraphs>
  <Slides>14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2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46" baseType="lpstr">
      <vt:lpstr>Mont Heavy DEMO</vt:lpstr>
      <vt:lpstr>Mont Light</vt:lpstr>
      <vt:lpstr>Calibri</vt:lpstr>
      <vt:lpstr>Mont</vt:lpstr>
      <vt:lpstr>Verdana</vt:lpstr>
      <vt:lpstr>Mont Bold</vt:lpstr>
      <vt:lpstr>Arial</vt:lpstr>
      <vt:lpstr>맑은 고딕</vt:lpstr>
      <vt:lpstr>Segoe UI</vt:lpstr>
      <vt:lpstr>Wingdings</vt:lpstr>
      <vt:lpstr>theme_my1</vt:lpstr>
      <vt:lpstr>RZD-Subtitle</vt:lpstr>
      <vt:lpstr>RZD-Title 2</vt:lpstr>
      <vt:lpstr>Специальное оформление</vt:lpstr>
      <vt:lpstr>1_RZD-Subtitle</vt:lpstr>
      <vt:lpstr>2_RZD-Subtitle</vt:lpstr>
      <vt:lpstr>3_RZD-Subtitle</vt:lpstr>
      <vt:lpstr>4_RZD-Subtitle</vt:lpstr>
      <vt:lpstr>5_RZD-Subtitle</vt:lpstr>
      <vt:lpstr>6_RZD-Subtitle</vt:lpstr>
      <vt:lpstr>7_RZD-Subtitle</vt:lpstr>
      <vt:lpstr>8_RZD-Subtitle</vt:lpstr>
      <vt:lpstr>10_RZD-Subtitle</vt:lpstr>
      <vt:lpstr>9_RZD-Subtitle</vt:lpstr>
      <vt:lpstr>1_RZD-Inside</vt:lpstr>
      <vt:lpstr>2_RZD-Inside</vt:lpstr>
      <vt:lpstr>3_RZD-Inside</vt:lpstr>
      <vt:lpstr>4_RZD-Inside</vt:lpstr>
      <vt:lpstr>11_RZD-Subtitle</vt:lpstr>
      <vt:lpstr>ТемаНАТТ_палитра-шрифты</vt:lpstr>
      <vt:lpstr>Тема Office</vt:lpstr>
      <vt:lpstr>Слайд think-cell</vt:lpstr>
      <vt:lpstr>ОЦЕНКА КОММЕРЧЕСКОГО ПОТЕНЦИАЛА ТЕХНОЛОГИИ  Алексей филимонов, Исполнительный директор</vt:lpstr>
      <vt:lpstr>Как на самом деле происходят инновации  в корпорациях?</vt:lpstr>
      <vt:lpstr>Оценка коммерческого потенциала технологии это</vt:lpstr>
      <vt:lpstr>Презентация PowerPoint</vt:lpstr>
      <vt:lpstr>Отличие экспертизы проектов ФЦП ЭКБ и РЭ для ВЭБ от традиционных экспертиз</vt:lpstr>
      <vt:lpstr>Зачем нужна внешняя экспертиза коммерческого потенциала?</vt:lpstr>
      <vt:lpstr>Пример 2: Экспертиза по методике Quicklook  IC2 Institute Техасского Университета (г.Остин)</vt:lpstr>
      <vt:lpstr>Шаблон экспертного заключения по Quicklook</vt:lpstr>
      <vt:lpstr>Пример 3 (важность альтернативных применений): Решение задачи по снижению потерь на коронный разряд в сетях ПАО «ФСК ЕЭС»</vt:lpstr>
      <vt:lpstr>Важность отраслевой экспертизы</vt:lpstr>
      <vt:lpstr>Где и как искать отраслевых экспертов</vt:lpstr>
      <vt:lpstr>Пример 4 (важность альтернативных применений): Альтернативные применения активированного ZnO</vt:lpstr>
      <vt:lpstr>Оценка стоимости технологических активов 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vkuzmina</dc:creator>
  <cp:lastModifiedBy>Переговорка</cp:lastModifiedBy>
  <cp:revision>311</cp:revision>
  <dcterms:created xsi:type="dcterms:W3CDTF">2017-05-10T20:54:07Z</dcterms:created>
  <dcterms:modified xsi:type="dcterms:W3CDTF">2022-12-08T07:45:42Z</dcterms:modified>
</cp:coreProperties>
</file>